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5" r:id="rId3"/>
    <p:sldMasterId id="2147483697" r:id="rId4"/>
    <p:sldMasterId id="2147483710" r:id="rId5"/>
    <p:sldMasterId id="2147483723" r:id="rId6"/>
    <p:sldMasterId id="2147483736" r:id="rId7"/>
    <p:sldMasterId id="2147483749" r:id="rId8"/>
  </p:sldMasterIdLst>
  <p:notesMasterIdLst>
    <p:notesMasterId r:id="rId32"/>
  </p:notesMasterIdLst>
  <p:sldIdLst>
    <p:sldId id="259" r:id="rId9"/>
    <p:sldId id="340" r:id="rId10"/>
    <p:sldId id="371" r:id="rId11"/>
    <p:sldId id="341" r:id="rId12"/>
    <p:sldId id="342" r:id="rId13"/>
    <p:sldId id="343" r:id="rId14"/>
    <p:sldId id="344" r:id="rId15"/>
    <p:sldId id="345" r:id="rId16"/>
    <p:sldId id="373" r:id="rId17"/>
    <p:sldId id="349" r:id="rId18"/>
    <p:sldId id="350" r:id="rId19"/>
    <p:sldId id="375" r:id="rId20"/>
    <p:sldId id="376" r:id="rId21"/>
    <p:sldId id="377" r:id="rId22"/>
    <p:sldId id="378" r:id="rId23"/>
    <p:sldId id="379" r:id="rId24"/>
    <p:sldId id="356" r:id="rId25"/>
    <p:sldId id="362" r:id="rId26"/>
    <p:sldId id="363" r:id="rId27"/>
    <p:sldId id="380" r:id="rId28"/>
    <p:sldId id="321" r:id="rId29"/>
    <p:sldId id="368" r:id="rId30"/>
    <p:sldId id="370" r:id="rId31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6FFFF"/>
    <a:srgbClr val="00FFFF"/>
    <a:srgbClr val="66FF33"/>
    <a:srgbClr val="FF99CC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12" autoAdjust="0"/>
    <p:restoredTop sz="94660"/>
  </p:normalViewPr>
  <p:slideViewPr>
    <p:cSldViewPr>
      <p:cViewPr varScale="1">
        <p:scale>
          <a:sx n="107" d="100"/>
          <a:sy n="107" d="100"/>
        </p:scale>
        <p:origin x="-1836" y="-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961" tIns="45981" rIns="91961" bIns="4598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961" tIns="45981" rIns="91961" bIns="45981" rtlCol="0"/>
          <a:lstStyle>
            <a:lvl1pPr algn="r">
              <a:defRPr sz="1200"/>
            </a:lvl1pPr>
          </a:lstStyle>
          <a:p>
            <a:fld id="{3EB68EDB-D40A-4FE2-AC1A-07A40FBF0282}" type="datetimeFigureOut">
              <a:rPr lang="ru-RU" smtClean="0"/>
              <a:t>27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1" tIns="45981" rIns="91961" bIns="4598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961" tIns="45981" rIns="91961" bIns="4598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4"/>
            <a:ext cx="2971800" cy="497364"/>
          </a:xfrm>
          <a:prstGeom prst="rect">
            <a:avLst/>
          </a:prstGeom>
        </p:spPr>
        <p:txBody>
          <a:bodyPr vert="horz" lIns="91961" tIns="45981" rIns="91961" bIns="4598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4"/>
            <a:ext cx="2971800" cy="497364"/>
          </a:xfrm>
          <a:prstGeom prst="rect">
            <a:avLst/>
          </a:prstGeom>
        </p:spPr>
        <p:txBody>
          <a:bodyPr vert="horz" lIns="91961" tIns="45981" rIns="91961" bIns="45981" rtlCol="0" anchor="b"/>
          <a:lstStyle>
            <a:lvl1pPr algn="r">
              <a:defRPr sz="1200"/>
            </a:lvl1pPr>
          </a:lstStyle>
          <a:p>
            <a:fld id="{CF1C49FA-8317-4ECC-A679-28357DB639B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4083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25322">
              <a:defRPr/>
            </a:pPr>
            <a:fld id="{5B0AF524-9BB2-480D-8283-F64402F25392}" type="slidenum">
              <a:rPr lang="ru-RU" smtClean="0">
                <a:solidFill>
                  <a:srgbClr val="0000FF"/>
                </a:solidFill>
              </a:rPr>
              <a:pPr defTabSz="925322">
                <a:defRPr/>
              </a:pPr>
              <a:t>1</a:t>
            </a:fld>
            <a:endParaRPr lang="ru-RU" dirty="0" smtClean="0">
              <a:solidFill>
                <a:srgbClr val="0000FF"/>
              </a:solidFill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1700" y="738188"/>
            <a:ext cx="5006975" cy="3754437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/>
          </a:p>
        </p:txBody>
      </p:sp>
      <p:sp>
        <p:nvSpPr>
          <p:cNvPr id="17413" name="Нижний колонтитул 4"/>
          <p:cNvSpPr>
            <a:spLocks noGrp="1"/>
          </p:cNvSpPr>
          <p:nvPr>
            <p:ph type="ftr" sz="quarter" idx="4"/>
          </p:nvPr>
        </p:nvSpPr>
        <p:spPr>
          <a:xfrm>
            <a:off x="0" y="9447844"/>
            <a:ext cx="2972548" cy="497843"/>
          </a:xfrm>
          <a:prstGeom prst="rect">
            <a:avLst/>
          </a:prstGeom>
        </p:spPr>
        <p:txBody>
          <a:bodyPr lIns="92053" tIns="46027" rIns="92053" bIns="46027"/>
          <a:lstStyle/>
          <a:p>
            <a:pPr defTabSz="925322">
              <a:defRPr/>
            </a:pPr>
            <a:r>
              <a:rPr lang="en-US" dirty="0" smtClean="0">
                <a:solidFill>
                  <a:srgbClr val="0000FF"/>
                </a:solidFill>
              </a:rPr>
              <a:t>www.rosenergoatom.ru</a:t>
            </a:r>
            <a:endParaRPr lang="ru-RU" dirty="0" smtClean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470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1C49FA-8317-4ECC-A679-28357DB639B5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1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1C49FA-8317-4ECC-A679-28357DB639B5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056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51053-84FF-475C-8DCD-720E9B031C2A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877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jpe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8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10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235657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9B1D2C-BDCB-40F0-8177-34F1186AFEE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0242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9659A-AF27-4EEB-9FED-E5DD7EAA14D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3481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3"/>
            <a:ext cx="8280400" cy="1031875"/>
          </a:xfrm>
          <a:extLst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9" y="3284539"/>
            <a:ext cx="3743325" cy="649287"/>
          </a:xfrm>
          <a:extLst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4100003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BBD5601-4E4C-47EF-A99F-63ED8F3E59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282412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50C69C7E-F5E3-4D43-9036-BE2C1C392E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885795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47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84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E03877A-F28C-4D43-9EFB-D6D9AD8619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425177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D480D598-0A41-4C5F-BBBD-89796B8C2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5403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6E043A9D-2C58-4019-9908-B746E5AB72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780384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1D02223-025A-4A9E-BCC9-697BDC552EF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923696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8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8EE89584-A3E7-4CE8-AC9F-E2E66F5AAA9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93802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EBC4-8AF0-4890-A8E3-DAF39D45F85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01566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04A3885E-9C4B-4979-9150-81E1CF2108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426593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A888B50A-1529-4B94-B107-E994F07583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053571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pPr>
              <a:defRPr/>
            </a:pPr>
            <a:fld id="{E78599C2-746B-4BAD-A7BE-7D3E786555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185631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220" y="163513"/>
            <a:ext cx="8273562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14" y="1509714"/>
            <a:ext cx="8274051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16160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318481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00CEB8-0371-493C-841A-306CF6016CF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10426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6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962512-F6E8-47FE-BD40-ABC59FAF9FD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58139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42803B-2ACF-4828-ADCA-8A59FC30E1C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75780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CDE0E-FF48-4D8B-9298-DD1C181E41F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05020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CD4215-0F95-44A0-AE98-89AF2E3FE3F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1412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4AA67-82C2-42AD-9048-9271EE85B94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68508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7F46F-9D02-4028-98F3-47906F6EF03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63286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8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14D4F-A23E-411E-9671-F82C5850004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34875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7C087-2060-42D7-971B-A90D531925A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54955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C0C2CA-3A11-430A-B05E-E9DAECD9903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82854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DB3EC-36B6-413C-A69D-4874A9938F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4935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0302733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0490A-844A-4E8F-A6EE-CF6D7138F2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7490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394C1-E07E-4600-AC2D-6423449791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2104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EEB208-DA7C-4039-8E8D-6CD6C9CCFF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200315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3C73-1944-4731-95B0-04AAF20F6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5676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8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5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400E7-034F-448C-9E03-DFCCA9DC5A8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54677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E174E-6574-4C69-AB10-CB5E062FC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752693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9AE61-AAB3-44FD-9238-094BF46711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5792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E5E50-236E-4265-9659-3807C1F9BC7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894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BD52A-FE2D-49B0-8BC8-7E8E0D592F3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10945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18A3D-1389-494B-A811-45D3591864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01177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52B2E-1A7E-4473-B882-43C266D42D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05449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8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269FF-A796-42F4-8C78-B3B6D5C340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59349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3238341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0490A-844A-4E8F-A6EE-CF6D7138F2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459165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4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394C1-E07E-4600-AC2D-6423449791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5914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D315B-36D1-47E4-BF02-FB270E28537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3936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37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4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EEB208-DA7C-4039-8E8D-6CD6C9CCFF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760163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3C73-1944-4731-95B0-04AAF20F6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01930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E174E-6574-4C69-AB10-CB5E062FC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041217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9AE61-AAB3-44FD-9238-094BF46711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904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E5E50-236E-4265-9659-3807C1F9BC7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6463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BD52A-FE2D-49B0-8BC8-7E8E0D592F3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037718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18A3D-1389-494B-A811-45D3591864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714603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52B2E-1A7E-4473-B882-43C266D42D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86748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7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269FF-A796-42F4-8C78-B3B6D5C340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12680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6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3238341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8FE64-27C7-47A7-BAB0-E52A3A0C0ED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596396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0490A-844A-4E8F-A6EE-CF6D7138F2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459165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394C1-E07E-4600-AC2D-6423449791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59142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3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6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EEB208-DA7C-4039-8E8D-6CD6C9CCFF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760163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3C73-1944-4731-95B0-04AAF20F6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01930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E174E-6574-4C69-AB10-CB5E062FC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041217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9AE61-AAB3-44FD-9238-094BF46711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904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E5E50-236E-4265-9659-3807C1F9BC7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06463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BD52A-FE2D-49B0-8BC8-7E8E0D592F3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037718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18A3D-1389-494B-A811-45D3591864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71460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52B2E-1A7E-4473-B882-43C266D42D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8674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60DDB-32A9-4797-A540-05657763954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069904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6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269FF-A796-42F4-8C78-B3B6D5C340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12680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4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118953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0490A-844A-4E8F-A6EE-CF6D7138F2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20506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394C1-E07E-4600-AC2D-6423449791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88710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6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EEB208-DA7C-4039-8E8D-6CD6C9CCFF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45464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3C73-1944-4731-95B0-04AAF20F6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77429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E174E-6574-4C69-AB10-CB5E062FC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93603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9AE61-AAB3-44FD-9238-094BF46711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25557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E5E50-236E-4265-9659-3807C1F9BC7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13561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BD52A-FE2D-49B0-8BC8-7E8E0D592F3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10900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9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30023F-D66A-48BA-A0F7-8A6F8CA371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05387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18A3D-1389-494B-A811-45D3591864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441510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52B2E-1A7E-4473-B882-43C266D42D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167711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269FF-A796-42F4-8C78-B3B6D5C340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138312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69" y="384175"/>
            <a:ext cx="2420815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31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8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7873836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0490A-844A-4E8F-A6EE-CF6D7138F2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994061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394C1-E07E-4600-AC2D-6423449791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987854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6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3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EEB208-DA7C-4039-8E8D-6CD6C9CCFF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333377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A3C73-1944-4731-95B0-04AAF20F6A8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083278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E174E-6574-4C69-AB10-CB5E062FC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937145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79AE61-AAB3-44FD-9238-094BF46711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27150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7A14C-4CC2-458D-937A-BD0E2B257B6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2425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E5E50-236E-4265-9659-3807C1F9BC7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406850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BD52A-FE2D-49B0-8BC8-7E8E0D592F3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928832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18A3D-1389-494B-A811-45D3591864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981675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3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6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52B2E-1A7E-4473-B882-43C266D42DB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73470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269FF-A796-42F4-8C78-B3B6D5C340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5878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7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94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12ADEA-A63C-4873-ACA2-7A7AA7791C9B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31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907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6659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92"/>
            <a:ext cx="627185" cy="377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86BCDF-B9FA-4884-8680-DF648A368712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5125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430" y="106363"/>
            <a:ext cx="888023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643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86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76D284-CF40-4EDD-BC1F-3CBBF6576030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7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99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2703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82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5124C0-3531-4DB9-80FE-2A4A872420B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5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95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9685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72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5124C0-3531-4DB9-80FE-2A4A872420B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20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85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39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62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5124C0-3531-4DB9-80FE-2A4A872420B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15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75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39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46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5124C0-3531-4DB9-80FE-2A4A872420B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8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07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59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2998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0373" y="6448430"/>
            <a:ext cx="62718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5124C0-3531-4DB9-80FE-2A4A872420B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925" y="1125538"/>
            <a:ext cx="8424497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923" y="0"/>
            <a:ext cx="763172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99" y="106363"/>
            <a:ext cx="88802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60" y="6446843"/>
            <a:ext cx="10287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5384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&#1052;&#1077;&#1093;%20&#1089;&#1074;&#1086;&#1081;&#1089;&#1090;&#1074;&#1072;/4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hyperlink" Target="&#1058;&#1059;/1-4" TargetMode="External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&#1052;&#1077;&#1093;%20&#1089;&#1074;&#1086;&#1081;&#1089;&#1090;&#1074;&#1072;/4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hyperlink" Target="&#1058;&#1059;/1-4" TargetMode="External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7828" y="1870075"/>
            <a:ext cx="8384337" cy="32019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88891" tIns="44445" rIns="88891" bIns="44445" anchor="ctr"/>
          <a:lstStyle/>
          <a:p>
            <a:pPr defTabSz="8890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600" b="1" dirty="0">
              <a:solidFill>
                <a:srgbClr val="4D4D4D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57628" y="1916832"/>
            <a:ext cx="662473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ea typeface="+mj-ea"/>
                <a:cs typeface="+mj-cs"/>
              </a:rPr>
              <a:t>КОНСТРУКЦИОННЫЕ МАТЕРИАЛЫ ДЛЯ РЕАКТОРОВ НА БЫСТРЫХ НЕЙТРОНАХ С НАТРИЕВЫМ И СВИНЦОВЫМ ТЕПЛОНОСИТЕЛЕМ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899592" y="4005064"/>
            <a:ext cx="8064896" cy="864096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marL="431800" algn="ctr">
              <a:spcBef>
                <a:spcPts val="600"/>
              </a:spcBef>
            </a:pPr>
            <a:r>
              <a:rPr lang="ru-RU" sz="1800" dirty="0"/>
              <a:t/>
            </a:r>
            <a:br>
              <a:rPr lang="ru-RU" sz="1800" dirty="0"/>
            </a:br>
            <a:r>
              <a:rPr lang="ru-RU" sz="2000" b="1" dirty="0">
                <a:latin typeface="Times New Roman"/>
                <a:ea typeface="Times New Roman"/>
              </a:rPr>
              <a:t>Леонтьева-Смирнова М.В., Скупов М.В., Никитина А.А</a:t>
            </a:r>
            <a:r>
              <a:rPr lang="ru-RU" sz="2000" b="1" dirty="0" smtClean="0">
                <a:latin typeface="Times New Roman"/>
                <a:ea typeface="Times New Roman"/>
              </a:rPr>
              <a:t>., </a:t>
            </a:r>
            <a:br>
              <a:rPr lang="ru-RU" sz="2000" b="1" dirty="0" smtClean="0">
                <a:latin typeface="Times New Roman"/>
                <a:ea typeface="Times New Roman"/>
              </a:rPr>
            </a:br>
            <a:r>
              <a:rPr lang="ru-RU" sz="2000" b="1" dirty="0" smtClean="0">
                <a:latin typeface="Times New Roman"/>
                <a:ea typeface="Times New Roman"/>
              </a:rPr>
              <a:t>Науменко И.А., Митрофанова Н.М. </a:t>
            </a:r>
            <a:br>
              <a:rPr lang="ru-RU" sz="2000" b="1" dirty="0" smtClean="0">
                <a:latin typeface="Times New Roman"/>
                <a:ea typeface="Times New Roman"/>
              </a:rPr>
            </a:br>
            <a:r>
              <a:rPr lang="ru-RU" sz="2000" b="1" dirty="0">
                <a:latin typeface="Times New Roman"/>
                <a:ea typeface="Times New Roman"/>
              </a:rPr>
              <a:t/>
            </a:r>
            <a:br>
              <a:rPr lang="ru-RU" sz="2000" b="1" dirty="0">
                <a:latin typeface="Times New Roman"/>
                <a:ea typeface="Times New Roman"/>
              </a:rPr>
            </a:br>
            <a:r>
              <a:rPr lang="ru-RU" sz="2000" b="1" dirty="0">
                <a:latin typeface="Times New Roman"/>
                <a:ea typeface="Times New Roman"/>
              </a:rPr>
              <a:t/>
            </a:r>
            <a:br>
              <a:rPr lang="ru-RU" sz="2000" b="1" dirty="0">
                <a:latin typeface="Times New Roman"/>
                <a:ea typeface="Times New Roman"/>
              </a:rPr>
            </a:br>
            <a:endParaRPr lang="ru-RU" sz="2000" b="1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339752" y="515937"/>
            <a:ext cx="477043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spcAft>
                <a:spcPct val="20000"/>
              </a:spcAft>
            </a:pPr>
            <a:r>
              <a:rPr lang="ru-RU" altLang="ru-RU" sz="1400" i="1" dirty="0">
                <a:solidFill>
                  <a:schemeClr val="tx2"/>
                </a:solidFill>
              </a:rPr>
              <a:t>«ВЫСОКОТЕХНОЛОГИЧЕСКИЙ НАУЧНО-ИССЛЕДОВАТЕЛЬСКИЙ ИНСТИТУТ НЕОРГАНИЧЕСКИХ МАТЕРИАЛОВ ИМЕНИ  АКАДЕМИКА  А.А. БОЧВАРА»   (АО «ВНИИНМ»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77636" y="4941168"/>
            <a:ext cx="4754404" cy="732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lnSpc>
                <a:spcPct val="130000"/>
              </a:lnSpc>
              <a:spcBef>
                <a:spcPct val="0"/>
              </a:spcBef>
              <a:spcAft>
                <a:spcPct val="20000"/>
              </a:spcAft>
              <a:defRPr/>
            </a:pPr>
            <a:r>
              <a:rPr lang="ru-RU" altLang="ru-RU" sz="1600" b="1" i="1" kern="0" cap="all" dirty="0">
                <a:solidFill>
                  <a:srgbClr val="003274"/>
                </a:solidFill>
              </a:rPr>
              <a:t>ХI конференция по реакторному материаловедению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6596" y="5805264"/>
            <a:ext cx="4572000" cy="85202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altLang="ru-RU" b="1" i="1" dirty="0">
                <a:solidFill>
                  <a:schemeClr val="hlink"/>
                </a:solidFill>
              </a:rPr>
              <a:t>Димитровград </a:t>
            </a:r>
          </a:p>
          <a:p>
            <a:pPr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ru-RU" altLang="ru-RU" b="1" i="1" dirty="0">
                <a:solidFill>
                  <a:schemeClr val="hlink"/>
                </a:solidFill>
              </a:rPr>
              <a:t>27 – 30 мая 2019  г.</a:t>
            </a:r>
          </a:p>
        </p:txBody>
      </p:sp>
    </p:spTree>
    <p:extLst>
      <p:ext uri="{BB962C8B-B14F-4D97-AF65-F5344CB8AC3E}">
        <p14:creationId xmlns:p14="http://schemas.microsoft.com/office/powerpoint/2010/main" val="1347333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0"/>
            <a:ext cx="7631723" cy="962025"/>
          </a:xfrm>
        </p:spPr>
        <p:txBody>
          <a:bodyPr/>
          <a:lstStyle/>
          <a:p>
            <a:r>
              <a:rPr lang="ru-RU" dirty="0" smtClean="0"/>
              <a:t>Промышленное освоение ферритно-мартенситных сталей ЭК181 и ЧС139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47008" y="1340768"/>
            <a:ext cx="8645472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b="1" dirty="0">
                <a:solidFill>
                  <a:srgbClr val="003274"/>
                </a:solidFill>
                <a:ea typeface="Times New Roman"/>
              </a:rPr>
              <a:t>В ходе промышленного освоения сталей ЭК181 и ЧС139 разработаны технические условия на поставку:</a:t>
            </a:r>
            <a:r>
              <a:rPr lang="ru-RU" dirty="0">
                <a:ea typeface="Times New Roman"/>
              </a:rPr>
              <a:t> </a:t>
            </a:r>
          </a:p>
          <a:p>
            <a:pPr marL="285750" indent="-103188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>
                <a:ea typeface="Times New Roman"/>
              </a:rPr>
              <a:t> </a:t>
            </a:r>
            <a:r>
              <a:rPr lang="ru-RU" sz="1600" dirty="0" smtClean="0">
                <a:ea typeface="Times New Roman"/>
              </a:rPr>
              <a:t>  трубной </a:t>
            </a:r>
            <a:r>
              <a:rPr lang="ru-RU" sz="1600" dirty="0">
                <a:ea typeface="Times New Roman"/>
              </a:rPr>
              <a:t>заготовки;</a:t>
            </a:r>
          </a:p>
          <a:p>
            <a:pPr marL="285750" indent="-103188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>
                <a:ea typeface="Times New Roman"/>
              </a:rPr>
              <a:t> </a:t>
            </a:r>
            <a:r>
              <a:rPr lang="ru-RU" sz="1600" dirty="0" smtClean="0">
                <a:ea typeface="Times New Roman"/>
              </a:rPr>
              <a:t>  оболочечных </a:t>
            </a:r>
            <a:r>
              <a:rPr lang="ru-RU" sz="1600" dirty="0">
                <a:ea typeface="Times New Roman"/>
              </a:rPr>
              <a:t>труб (Ø6,9×0,4 мм, Ø9,3×0,6 мм, Ø9,3×0,5 мм и Ø10,5×0,5 мм);</a:t>
            </a:r>
          </a:p>
          <a:p>
            <a:pPr marL="285750" indent="-103188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>
                <a:ea typeface="Times New Roman"/>
              </a:rPr>
              <a:t> </a:t>
            </a:r>
            <a:r>
              <a:rPr lang="ru-RU" sz="1600" dirty="0" smtClean="0">
                <a:ea typeface="Times New Roman"/>
              </a:rPr>
              <a:t>  прутка </a:t>
            </a:r>
            <a:r>
              <a:rPr lang="ru-RU" sz="1600" dirty="0">
                <a:ea typeface="Times New Roman"/>
              </a:rPr>
              <a:t>со </a:t>
            </a:r>
            <a:r>
              <a:rPr lang="ru-RU" sz="1600" dirty="0" err="1">
                <a:ea typeface="Times New Roman"/>
              </a:rPr>
              <a:t>спецотделкой</a:t>
            </a:r>
            <a:r>
              <a:rPr lang="ru-RU" sz="1600" dirty="0">
                <a:ea typeface="Times New Roman"/>
              </a:rPr>
              <a:t> поверхности для заглушек;</a:t>
            </a:r>
          </a:p>
          <a:p>
            <a:pPr marL="285750" indent="-103188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smtClean="0">
                <a:ea typeface="Times New Roman"/>
              </a:rPr>
              <a:t>   проволоки-заготовки </a:t>
            </a:r>
            <a:r>
              <a:rPr lang="ru-RU" sz="1600" dirty="0">
                <a:ea typeface="Times New Roman"/>
              </a:rPr>
              <a:t>для изготовления </a:t>
            </a:r>
            <a:r>
              <a:rPr lang="ru-RU" sz="1600" dirty="0" err="1">
                <a:ea typeface="Times New Roman"/>
              </a:rPr>
              <a:t>дистанционирующей</a:t>
            </a:r>
            <a:r>
              <a:rPr lang="ru-RU" sz="1600" dirty="0">
                <a:ea typeface="Times New Roman"/>
              </a:rPr>
              <a:t> проволоки (Ø5,5 мм);</a:t>
            </a:r>
          </a:p>
          <a:p>
            <a:pPr marL="285750" indent="-103188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>
                <a:ea typeface="Times New Roman"/>
              </a:rPr>
              <a:t> </a:t>
            </a:r>
            <a:r>
              <a:rPr lang="ru-RU" sz="1600" dirty="0" smtClean="0">
                <a:ea typeface="Times New Roman"/>
              </a:rPr>
              <a:t>  </a:t>
            </a:r>
            <a:r>
              <a:rPr lang="ru-RU" sz="1600" dirty="0" err="1" smtClean="0">
                <a:ea typeface="Times New Roman"/>
              </a:rPr>
              <a:t>дистанционирующей</a:t>
            </a:r>
            <a:r>
              <a:rPr lang="ru-RU" sz="1600" dirty="0" smtClean="0">
                <a:ea typeface="Times New Roman"/>
              </a:rPr>
              <a:t> </a:t>
            </a:r>
            <a:r>
              <a:rPr lang="ru-RU" sz="1600" dirty="0">
                <a:ea typeface="Times New Roman"/>
              </a:rPr>
              <a:t>проволоки (</a:t>
            </a:r>
            <a:r>
              <a:rPr lang="ru-RU" sz="1600" dirty="0">
                <a:ea typeface="Times New Roman"/>
                <a:sym typeface="Symbol"/>
              </a:rPr>
              <a:t></a:t>
            </a:r>
            <a:r>
              <a:rPr lang="ru-RU" sz="1600" dirty="0">
                <a:ea typeface="Times New Roman"/>
              </a:rPr>
              <a:t>1,05 мм и </a:t>
            </a:r>
            <a:r>
              <a:rPr lang="ru-RU" sz="1600" dirty="0">
                <a:ea typeface="Times New Roman"/>
                <a:sym typeface="Symbol"/>
              </a:rPr>
              <a:t></a:t>
            </a:r>
            <a:r>
              <a:rPr lang="ru-RU" sz="1600" dirty="0">
                <a:ea typeface="Times New Roman"/>
              </a:rPr>
              <a:t>1,3</a:t>
            </a:r>
            <a:r>
              <a:rPr lang="ru-RU" sz="1600" dirty="0">
                <a:ea typeface="Times New Roman"/>
                <a:sym typeface="Symbol"/>
              </a:rPr>
              <a:t></a:t>
            </a:r>
            <a:r>
              <a:rPr lang="ru-RU" sz="1600" dirty="0">
                <a:ea typeface="Times New Roman"/>
              </a:rPr>
              <a:t>0,6 мм).</a:t>
            </a:r>
          </a:p>
          <a:p>
            <a:pPr indent="450215" algn="just">
              <a:spcAft>
                <a:spcPts val="0"/>
              </a:spcAft>
            </a:pPr>
            <a:r>
              <a:rPr lang="ru-RU" b="1" dirty="0">
                <a:solidFill>
                  <a:srgbClr val="003274"/>
                </a:solidFill>
                <a:ea typeface="Times New Roman"/>
              </a:rPr>
              <a:t>Изготовлены опытные партии:</a:t>
            </a:r>
          </a:p>
          <a:p>
            <a:pPr marL="184150" indent="161925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smtClean="0">
                <a:ea typeface="Times New Roman"/>
              </a:rPr>
              <a:t>оболочечных </a:t>
            </a:r>
            <a:r>
              <a:rPr lang="ru-RU" sz="1600" dirty="0">
                <a:ea typeface="Times New Roman"/>
              </a:rPr>
              <a:t>труб Ø6,9×0,4 мм, Ø9,3×0,6 мм, Ø9,3×0,5 мм (ЧС139) и </a:t>
            </a:r>
            <a:r>
              <a:rPr lang="ru-RU" sz="1600" dirty="0" smtClean="0">
                <a:ea typeface="Times New Roman"/>
              </a:rPr>
              <a:t>Ø10,5×0,5мм     (</a:t>
            </a:r>
            <a:r>
              <a:rPr lang="ru-RU" sz="1600" dirty="0">
                <a:ea typeface="Times New Roman"/>
              </a:rPr>
              <a:t>ЧС139);</a:t>
            </a:r>
          </a:p>
          <a:p>
            <a:pPr marL="184150" indent="161925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smtClean="0">
                <a:ea typeface="Times New Roman"/>
              </a:rPr>
              <a:t> прутка </a:t>
            </a:r>
            <a:r>
              <a:rPr lang="ru-RU" sz="1600" dirty="0">
                <a:ea typeface="Times New Roman"/>
              </a:rPr>
              <a:t>со </a:t>
            </a:r>
            <a:r>
              <a:rPr lang="ru-RU" sz="1600" dirty="0" err="1">
                <a:ea typeface="Times New Roman"/>
              </a:rPr>
              <a:t>спецотделкой</a:t>
            </a:r>
            <a:r>
              <a:rPr lang="ru-RU" sz="1600" dirty="0">
                <a:ea typeface="Times New Roman"/>
              </a:rPr>
              <a:t> поверхности </a:t>
            </a:r>
            <a:r>
              <a:rPr lang="ru-RU" sz="1600" dirty="0">
                <a:ea typeface="Times New Roman"/>
                <a:sym typeface="Symbol"/>
              </a:rPr>
              <a:t></a:t>
            </a:r>
            <a:r>
              <a:rPr lang="ru-RU" sz="1600" dirty="0">
                <a:ea typeface="Times New Roman"/>
              </a:rPr>
              <a:t>10 мм;</a:t>
            </a:r>
          </a:p>
          <a:p>
            <a:pPr marL="184150" indent="161925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smtClean="0">
                <a:ea typeface="Times New Roman"/>
              </a:rPr>
              <a:t>проволоки-заготовки </a:t>
            </a:r>
            <a:r>
              <a:rPr lang="ru-RU" sz="1600" dirty="0">
                <a:ea typeface="Times New Roman"/>
              </a:rPr>
              <a:t>Ø5,5 мм</a:t>
            </a:r>
            <a:r>
              <a:rPr lang="ru-RU" sz="1600" dirty="0" smtClean="0">
                <a:ea typeface="Times New Roman"/>
              </a:rPr>
              <a:t>;</a:t>
            </a:r>
            <a:endParaRPr lang="ru-RU" sz="1600" dirty="0">
              <a:ea typeface="Times New Roman"/>
            </a:endParaRPr>
          </a:p>
          <a:p>
            <a:pPr marL="184150" indent="161925" algn="just"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err="1" smtClean="0">
                <a:ea typeface="Times New Roman"/>
              </a:rPr>
              <a:t>дистанционирующей</a:t>
            </a:r>
            <a:r>
              <a:rPr lang="ru-RU" sz="1600" dirty="0" smtClean="0">
                <a:ea typeface="Times New Roman"/>
              </a:rPr>
              <a:t> </a:t>
            </a:r>
            <a:r>
              <a:rPr lang="ru-RU" sz="1600" dirty="0">
                <a:ea typeface="Times New Roman"/>
              </a:rPr>
              <a:t>проволоки </a:t>
            </a:r>
            <a:r>
              <a:rPr lang="ru-RU" sz="1600" dirty="0">
                <a:ea typeface="Times New Roman"/>
                <a:sym typeface="Symbol"/>
              </a:rPr>
              <a:t></a:t>
            </a:r>
            <a:r>
              <a:rPr lang="ru-RU" sz="1600" dirty="0">
                <a:ea typeface="Times New Roman"/>
              </a:rPr>
              <a:t>1,05 мм и </a:t>
            </a:r>
            <a:r>
              <a:rPr lang="ru-RU" sz="1600" dirty="0">
                <a:ea typeface="Times New Roman"/>
                <a:sym typeface="Symbol"/>
              </a:rPr>
              <a:t></a:t>
            </a:r>
            <a:r>
              <a:rPr lang="ru-RU" sz="1600" dirty="0">
                <a:ea typeface="Times New Roman"/>
              </a:rPr>
              <a:t>1,3</a:t>
            </a:r>
            <a:r>
              <a:rPr lang="ru-RU" sz="1600" dirty="0">
                <a:ea typeface="Times New Roman"/>
                <a:sym typeface="Symbol"/>
              </a:rPr>
              <a:t></a:t>
            </a:r>
            <a:r>
              <a:rPr lang="ru-RU" sz="1600" dirty="0">
                <a:ea typeface="Times New Roman"/>
              </a:rPr>
              <a:t>0,6 мм</a:t>
            </a:r>
            <a:r>
              <a:rPr lang="ru-RU" sz="1600" dirty="0" smtClean="0">
                <a:ea typeface="Times New Roman"/>
              </a:rPr>
              <a:t>.</a:t>
            </a:r>
            <a:endParaRPr lang="ru-RU" sz="1600" dirty="0">
              <a:ea typeface="Times New Roman"/>
            </a:endParaRPr>
          </a:p>
          <a:p>
            <a:pPr indent="448310" algn="just" fontAlgn="base">
              <a:spcAft>
                <a:spcPts val="0"/>
              </a:spcAft>
            </a:pPr>
            <a:r>
              <a:rPr lang="ru-RU" b="1" dirty="0" smtClean="0">
                <a:solidFill>
                  <a:srgbClr val="003274"/>
                </a:solidFill>
                <a:ea typeface="Times New Roman"/>
              </a:rPr>
              <a:t>Для </a:t>
            </a:r>
            <a:r>
              <a:rPr lang="ru-RU" b="1" dirty="0">
                <a:solidFill>
                  <a:srgbClr val="003274"/>
                </a:solidFill>
                <a:ea typeface="Times New Roman"/>
              </a:rPr>
              <a:t>получения данных по радиационной стойкости сталей ЭК181 и ЧС139 запланировано облучение образцов в материаловедческих сборках БН-600 (планируемые параметры:</a:t>
            </a:r>
            <a:r>
              <a:rPr lang="ru-RU" b="1" dirty="0">
                <a:solidFill>
                  <a:srgbClr val="003274"/>
                </a:solidFill>
                <a:ea typeface="Times New Roman"/>
                <a:sym typeface="Symbol"/>
              </a:rPr>
              <a:t></a:t>
            </a:r>
            <a:r>
              <a:rPr lang="ru-RU" b="1" dirty="0">
                <a:solidFill>
                  <a:srgbClr val="003274"/>
                </a:solidFill>
                <a:ea typeface="Times New Roman"/>
              </a:rPr>
              <a:t> 87, </a:t>
            </a:r>
            <a:r>
              <a:rPr lang="ru-RU" b="1" dirty="0">
                <a:solidFill>
                  <a:srgbClr val="003274"/>
                </a:solidFill>
                <a:ea typeface="Times New Roman"/>
                <a:sym typeface="Symbol"/>
              </a:rPr>
              <a:t></a:t>
            </a:r>
            <a:r>
              <a:rPr lang="ru-RU" b="1" dirty="0">
                <a:solidFill>
                  <a:srgbClr val="003274"/>
                </a:solidFill>
                <a:ea typeface="Times New Roman"/>
              </a:rPr>
              <a:t> 145 и </a:t>
            </a:r>
            <a:r>
              <a:rPr lang="ru-RU" b="1" dirty="0">
                <a:solidFill>
                  <a:srgbClr val="003274"/>
                </a:solidFill>
                <a:ea typeface="Times New Roman"/>
                <a:sym typeface="Symbol"/>
              </a:rPr>
              <a:t></a:t>
            </a:r>
            <a:r>
              <a:rPr lang="ru-RU" b="1" dirty="0">
                <a:solidFill>
                  <a:srgbClr val="003274"/>
                </a:solidFill>
                <a:ea typeface="Times New Roman"/>
              </a:rPr>
              <a:t> 169 сна, </a:t>
            </a:r>
            <a:r>
              <a:rPr lang="ru-RU" b="1" dirty="0" err="1">
                <a:solidFill>
                  <a:srgbClr val="003274"/>
                </a:solidFill>
                <a:ea typeface="Times New Roman"/>
              </a:rPr>
              <a:t>Т</a:t>
            </a:r>
            <a:r>
              <a:rPr lang="ru-RU" b="1" baseline="-25000" dirty="0" err="1">
                <a:solidFill>
                  <a:srgbClr val="003274"/>
                </a:solidFill>
                <a:ea typeface="Times New Roman"/>
              </a:rPr>
              <a:t>обл</a:t>
            </a:r>
            <a:r>
              <a:rPr lang="ru-RU" b="1" baseline="-25000" dirty="0">
                <a:solidFill>
                  <a:srgbClr val="003274"/>
                </a:solidFill>
                <a:ea typeface="Times New Roman"/>
              </a:rPr>
              <a:t> </a:t>
            </a:r>
            <a:r>
              <a:rPr lang="ru-RU" b="1" dirty="0">
                <a:solidFill>
                  <a:srgbClr val="003274"/>
                </a:solidFill>
                <a:ea typeface="Times New Roman"/>
              </a:rPr>
              <a:t>до 700 ºС). </a:t>
            </a:r>
            <a:endParaRPr lang="ru-RU" b="1" dirty="0">
              <a:solidFill>
                <a:srgbClr val="003274"/>
              </a:solidFill>
              <a:effectLst/>
              <a:ea typeface="Times New Roman"/>
            </a:endParaRP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2325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211540" y="116632"/>
            <a:ext cx="9192838" cy="69954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3274"/>
                </a:solidFill>
                <a:latin typeface="HeliosCondBlack" pitchFamily="2" charset="0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ru-RU" altLang="ru-RU" sz="2000" b="1" dirty="0" smtClean="0">
                <a:latin typeface="+mn-lt"/>
                <a:ea typeface="+mn-ea"/>
                <a:cs typeface="Times New Roman" pitchFamily="18" charset="0"/>
              </a:rPr>
              <a:t>Ферритно-мартенситная сталь ЭП823  </a:t>
            </a:r>
          </a:p>
        </p:txBody>
      </p:sp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70507" y="1196752"/>
            <a:ext cx="9082363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indent="448310" algn="just" fontAlgn="base">
              <a:lnSpc>
                <a:spcPct val="150000"/>
              </a:lnSpc>
            </a:pPr>
            <a:r>
              <a:rPr lang="ru-RU" b="1" dirty="0">
                <a:solidFill>
                  <a:prstClr val="black"/>
                </a:solidFill>
                <a:ea typeface="Times New Roman"/>
              </a:rPr>
              <a:t>12 % хромистая ферритно-мартенситная сталь </a:t>
            </a:r>
            <a:r>
              <a:rPr lang="ru-RU" b="1" dirty="0" smtClean="0">
                <a:solidFill>
                  <a:prstClr val="black"/>
                </a:solidFill>
                <a:ea typeface="Times New Roman"/>
              </a:rPr>
              <a:t>ЭП823  с 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повышенным </a:t>
            </a:r>
            <a:endParaRPr lang="ru-RU" b="1" dirty="0" smtClean="0">
              <a:solidFill>
                <a:prstClr val="black"/>
              </a:solidFill>
              <a:ea typeface="Times New Roman"/>
            </a:endParaRPr>
          </a:p>
          <a:p>
            <a:pPr indent="448310" algn="just" fontAlgn="base">
              <a:lnSpc>
                <a:spcPct val="150000"/>
              </a:lnSpc>
            </a:pPr>
            <a:r>
              <a:rPr lang="ru-RU" b="1" dirty="0" smtClean="0">
                <a:solidFill>
                  <a:prstClr val="black"/>
                </a:solidFill>
                <a:ea typeface="Times New Roman"/>
              </a:rPr>
              <a:t>(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до 1,3 %) содержанием кремния, легированная карбидообразующими элементами </a:t>
            </a:r>
            <a:r>
              <a:rPr lang="en-US" b="1" dirty="0">
                <a:solidFill>
                  <a:prstClr val="black"/>
                </a:solidFill>
                <a:ea typeface="Times New Roman"/>
              </a:rPr>
              <a:t>W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, </a:t>
            </a:r>
            <a:r>
              <a:rPr lang="en-US" b="1" dirty="0">
                <a:solidFill>
                  <a:prstClr val="black"/>
                </a:solidFill>
                <a:ea typeface="Times New Roman"/>
              </a:rPr>
              <a:t>V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, </a:t>
            </a:r>
            <a:r>
              <a:rPr lang="en-US" b="1" dirty="0" err="1">
                <a:solidFill>
                  <a:prstClr val="black"/>
                </a:solidFill>
                <a:ea typeface="Times New Roman"/>
              </a:rPr>
              <a:t>Nb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 в пределах 0,2-0,8%, </a:t>
            </a:r>
            <a:r>
              <a:rPr lang="en-US" b="1" dirty="0" err="1">
                <a:solidFill>
                  <a:prstClr val="black"/>
                </a:solidFill>
                <a:ea typeface="Times New Roman"/>
              </a:rPr>
              <a:t>Ce</a:t>
            </a:r>
            <a:r>
              <a:rPr lang="en-US" b="1" dirty="0">
                <a:solidFill>
                  <a:prstClr val="black"/>
                </a:solidFill>
                <a:ea typeface="Times New Roman"/>
                <a:sym typeface="Symbol"/>
              </a:rPr>
              <a:t>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0,1% и В</a:t>
            </a:r>
            <a:r>
              <a:rPr lang="ru-RU" b="1" dirty="0">
                <a:solidFill>
                  <a:prstClr val="black"/>
                </a:solidFill>
                <a:ea typeface="Times New Roman"/>
                <a:sym typeface="Symbol"/>
              </a:rPr>
              <a:t>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0,006% </a:t>
            </a:r>
            <a:r>
              <a:rPr lang="ru-RU" b="1" dirty="0" smtClean="0">
                <a:solidFill>
                  <a:prstClr val="black"/>
                </a:solidFill>
                <a:ea typeface="Times New Roman"/>
              </a:rPr>
              <a:t>осваивается 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и обосновывается в качестве материала оболочек </a:t>
            </a:r>
            <a:r>
              <a:rPr lang="ru-RU" b="1" dirty="0" err="1">
                <a:solidFill>
                  <a:prstClr val="black"/>
                </a:solidFill>
                <a:ea typeface="Times New Roman"/>
              </a:rPr>
              <a:t>твэлов</a:t>
            </a:r>
            <a:r>
              <a:rPr lang="ru-RU" b="1" dirty="0">
                <a:solidFill>
                  <a:prstClr val="black"/>
                </a:solidFill>
                <a:ea typeface="Times New Roman"/>
              </a:rPr>
              <a:t>, чехлов БО, БЗ, РО СУЗ и др. узлов реактора БРЕСТ-ОД-300.  </a:t>
            </a:r>
            <a:endParaRPr lang="ru-RU" altLang="ja-JP" b="1" dirty="0">
              <a:solidFill>
                <a:prstClr val="black"/>
              </a:solidFill>
              <a:ea typeface="ＭＳ Ｐゴシック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ru-RU" altLang="ja-JP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       </a:t>
            </a:r>
            <a:r>
              <a:rPr lang="ru-RU" altLang="ja-JP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</a:t>
            </a:r>
            <a:r>
              <a:rPr lang="ru-RU" altLang="ja-JP" b="1" dirty="0" smtClean="0">
                <a:solidFill>
                  <a:srgbClr val="002060"/>
                </a:solidFill>
                <a:ea typeface="ＭＳ Ｐゴシック"/>
                <a:cs typeface="Times New Roman" pitchFamily="18" charset="0"/>
              </a:rPr>
              <a:t>Работы </a:t>
            </a:r>
            <a:r>
              <a:rPr lang="ru-RU" altLang="ja-JP" b="1" dirty="0">
                <a:solidFill>
                  <a:srgbClr val="002060"/>
                </a:solidFill>
                <a:ea typeface="ＭＳ Ｐゴシック"/>
                <a:cs typeface="Times New Roman" pitchFamily="18" charset="0"/>
              </a:rPr>
              <a:t>проводятся в направлениях</a:t>
            </a:r>
            <a:r>
              <a:rPr lang="ru-RU" altLang="ja-JP" b="1" dirty="0" smtClean="0">
                <a:solidFill>
                  <a:srgbClr val="002060"/>
                </a:solidFill>
                <a:ea typeface="ＭＳ Ｐゴシック"/>
                <a:cs typeface="Times New Roman" pitchFamily="18" charset="0"/>
              </a:rPr>
              <a:t>:</a:t>
            </a:r>
          </a:p>
          <a:p>
            <a:pPr marL="550862" lvl="0" indent="-285750">
              <a:lnSpc>
                <a:spcPct val="150000"/>
              </a:lnSpc>
              <a:buClr>
                <a:srgbClr val="FF0000"/>
              </a:buClr>
              <a:buSzPct val="80000"/>
              <a:buFont typeface="Wingdings" pitchFamily="2" charset="2"/>
              <a:buChar char="§"/>
              <a:defRPr/>
            </a:pP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Технологически-конструкторском.</a:t>
            </a:r>
          </a:p>
          <a:p>
            <a:pPr marL="550862" lvl="0" indent="-285750">
              <a:lnSpc>
                <a:spcPct val="150000"/>
              </a:lnSpc>
              <a:buClr>
                <a:srgbClr val="FF0000"/>
              </a:buClr>
              <a:buSzPct val="80000"/>
              <a:buFont typeface="Wingdings" pitchFamily="2" charset="2"/>
              <a:buChar char="§"/>
              <a:defRPr/>
            </a:pP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Исследований 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структурно-фазового состояния и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физико-механических  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   свойств на всех 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этапах разработки и изготовлении 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изделий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.</a:t>
            </a:r>
            <a:endParaRPr lang="ru-RU" altLang="ja-JP" b="1" dirty="0">
              <a:solidFill>
                <a:srgbClr val="002060"/>
              </a:solidFill>
              <a:ea typeface="ＭＳ Ｐゴシック"/>
              <a:cs typeface="Times New Roman" pitchFamily="18" charset="0"/>
            </a:endParaRPr>
          </a:p>
          <a:p>
            <a:pPr marL="550862" indent="-285750">
              <a:lnSpc>
                <a:spcPct val="150000"/>
              </a:lnSpc>
              <a:buClr>
                <a:srgbClr val="FF0000"/>
              </a:buClr>
              <a:buSzPct val="80000"/>
              <a:buFont typeface="Wingdings" pitchFamily="2" charset="2"/>
              <a:buChar char="§"/>
              <a:defRPr/>
            </a:pP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Исследования 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и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обоснования 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коррозионной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стойкости</a:t>
            </a: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.</a:t>
            </a:r>
          </a:p>
          <a:p>
            <a:pPr marL="550862" indent="-285750">
              <a:lnSpc>
                <a:spcPct val="150000"/>
              </a:lnSpc>
              <a:buClr>
                <a:srgbClr val="FF0000"/>
              </a:buClr>
              <a:buSzPct val="80000"/>
              <a:buFont typeface="Wingdings" pitchFamily="2" charset="2"/>
              <a:buChar char="§"/>
              <a:defRPr/>
            </a:pPr>
            <a:r>
              <a:rPr lang="ru-RU" altLang="ja-JP" b="1" dirty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  Обоснования радиационной </a:t>
            </a:r>
            <a:r>
              <a:rPr lang="ru-RU" altLang="ja-JP" b="1" dirty="0" smtClean="0">
                <a:solidFill>
                  <a:prstClr val="black"/>
                </a:solidFill>
                <a:ea typeface="ＭＳ Ｐゴシック"/>
                <a:cs typeface="Times New Roman" pitchFamily="18" charset="0"/>
              </a:rPr>
              <a:t>стойкости.</a:t>
            </a:r>
            <a:endParaRPr lang="ru-RU" altLang="ja-JP" b="1" dirty="0">
              <a:solidFill>
                <a:prstClr val="black"/>
              </a:solidFill>
              <a:ea typeface="ＭＳ Ｐゴシック"/>
              <a:cs typeface="Times New Roman" pitchFamily="18" charset="0"/>
            </a:endParaRPr>
          </a:p>
          <a:p>
            <a:pPr marL="265112">
              <a:lnSpc>
                <a:spcPct val="150000"/>
              </a:lnSpc>
              <a:buClr>
                <a:srgbClr val="FF0000"/>
              </a:buClr>
              <a:buSzPct val="90000"/>
              <a:defRPr/>
            </a:pPr>
            <a:endParaRPr lang="ru-RU" altLang="ja-JP" b="1" dirty="0">
              <a:solidFill>
                <a:prstClr val="black"/>
              </a:solidFill>
              <a:ea typeface="ＭＳ Ｐゴシック"/>
              <a:cs typeface="Times New Roman" pitchFamily="18" charset="0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1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731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0" y="260648"/>
            <a:ext cx="8640960" cy="699542"/>
          </a:xfrm>
        </p:spPr>
        <p:txBody>
          <a:bodyPr>
            <a:noAutofit/>
          </a:bodyPr>
          <a:lstStyle/>
          <a:p>
            <a:pPr lvl="0" algn="l" fontAlgn="base">
              <a:spcAft>
                <a:spcPct val="0"/>
              </a:spcAft>
            </a:pPr>
            <a:r>
              <a:rPr lang="ru-RU" altLang="ru-RU" sz="1800" b="1" dirty="0" smtClean="0">
                <a:latin typeface="+mn-lt"/>
                <a:ea typeface="+mn-ea"/>
                <a:cs typeface="Times New Roman" pitchFamily="18" charset="0"/>
              </a:rPr>
              <a:t>         </a:t>
            </a:r>
            <a:r>
              <a:rPr lang="ru-RU" altLang="ru-RU" sz="1800" b="1" dirty="0" smtClean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Коррозия</a:t>
            </a:r>
            <a:r>
              <a:rPr lang="ru-RU" altLang="ru-RU" sz="1800" b="1" dirty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, в том числе </a:t>
            </a:r>
            <a:r>
              <a:rPr lang="ru-RU" altLang="ru-RU" sz="1800" b="1" dirty="0" err="1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фреттинг</a:t>
            </a:r>
            <a:r>
              <a:rPr lang="ru-RU" altLang="ru-RU" sz="1800" b="1" dirty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-коррозия, образцов стали ЭП823 нового технологического исполнения и перспективных материалов</a:t>
            </a:r>
            <a:br>
              <a:rPr lang="ru-RU" altLang="ru-RU" sz="1800" b="1" dirty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</a:br>
            <a:endParaRPr lang="ru-RU" sz="1800" b="1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70736" y="1059582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4429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Коррозионные испытания проводились в потоке свинцового теплоносителя стенда СМ-2 с концентрацией растворенного кислорода С[O]=(1-4)·10</a:t>
            </a:r>
            <a:r>
              <a:rPr lang="ru-RU" baseline="300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-6</a:t>
            </a:r>
            <a:r>
              <a:rPr lang="ru-RU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</a:t>
            </a:r>
            <a:r>
              <a:rPr lang="ru-RU" dirty="0" err="1">
                <a:solidFill>
                  <a:srgbClr val="000000"/>
                </a:solidFill>
                <a:latin typeface="+mj-lt"/>
                <a:cs typeface="Times New Roman" pitchFamily="18" charset="0"/>
              </a:rPr>
              <a:t>мас</a:t>
            </a:r>
            <a:r>
              <a:rPr lang="ru-RU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. %, длительностью ~ 16000 часов при температурах </a:t>
            </a:r>
            <a:r>
              <a:rPr lang="ru-RU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425 </a:t>
            </a:r>
            <a:r>
              <a:rPr lang="ru-RU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- 670 °С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07504" y="2132856"/>
            <a:ext cx="8965760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47675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003274"/>
                </a:solidFill>
                <a:latin typeface="+mj-lt"/>
                <a:cs typeface="Times New Roman" pitchFamily="18" charset="0"/>
              </a:rPr>
              <a:t>Результаты 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На всех образцах (сталь ЭП823 в исходном состоянии и с модифицированной поверхностью) не обнаружено каких-либо коррозионно-эрозионных повреждений.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Толщина оксидной пленки не превысила 15 мкм при каждой температуре ( по ТТ </a:t>
            </a:r>
            <a:r>
              <a:rPr lang="ru-RU" sz="1400" dirty="0" err="1">
                <a:solidFill>
                  <a:srgbClr val="000000"/>
                </a:solidFill>
                <a:latin typeface="+mj-lt"/>
                <a:cs typeface="Times New Roman" pitchFamily="18" charset="0"/>
              </a:rPr>
              <a:t>БРЕСТа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 не более 50 мкм</a:t>
            </a:r>
            <a:r>
              <a:rPr lang="ru-RU" sz="14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). </a:t>
            </a:r>
            <a:endParaRPr lang="ru-RU" sz="1400" dirty="0">
              <a:solidFill>
                <a:srgbClr val="000000"/>
              </a:solidFill>
              <a:latin typeface="+mj-lt"/>
              <a:cs typeface="Times New Roman" pitchFamily="18" charset="0"/>
            </a:endParaRP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Жидкометаллической коррозии (коррозии по механизму растворения) не обнаружено ни на одном из исследованных образцов.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Взаимодействие 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образцов с теплоносителем не приводит к потере прочностных свойств и </a:t>
            </a:r>
            <a:r>
              <a:rPr lang="ru-RU" sz="1400" dirty="0" err="1">
                <a:solidFill>
                  <a:srgbClr val="000000"/>
                </a:solidFill>
                <a:latin typeface="+mj-lt"/>
                <a:cs typeface="Times New Roman" pitchFamily="18" charset="0"/>
              </a:rPr>
              <a:t>охрупчиванию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материала оболочек. 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Механические свойства образцов изменяются в пределах, характерных для образцов труб, подвергающихся обычному термическому старению при 650 (670) °С. 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Показана устойчивость модельных образцов с оболочечными трубами из стали ЭП823 и биметаллических труб к </a:t>
            </a:r>
            <a:r>
              <a:rPr lang="ru-RU" sz="1400" dirty="0" err="1">
                <a:solidFill>
                  <a:srgbClr val="000000"/>
                </a:solidFill>
                <a:latin typeface="+mj-lt"/>
                <a:cs typeface="Times New Roman" pitchFamily="18" charset="0"/>
              </a:rPr>
              <a:t>фреттинг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-коррозии при 620°С, ~5000 ч, С[O]=(1-4)·10</a:t>
            </a:r>
            <a:r>
              <a:rPr lang="ru-RU" sz="1400" baseline="300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-6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+mj-lt"/>
                <a:cs typeface="Times New Roman" pitchFamily="18" charset="0"/>
              </a:rPr>
              <a:t>мас</a:t>
            </a:r>
            <a:r>
              <a:rPr lang="ru-RU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. %, скорость теплоносителя ~ 1,6 м/с</a:t>
            </a:r>
            <a:r>
              <a:rPr lang="ru-RU" sz="14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.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400" dirty="0" smtClean="0">
                <a:solidFill>
                  <a:srgbClr val="000000"/>
                </a:solidFill>
                <a:latin typeface="+mj-lt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+mj-lt"/>
                <a:ea typeface="Times New Roman"/>
              </a:rPr>
              <a:t>Проведены </a:t>
            </a:r>
            <a:r>
              <a:rPr lang="ru-RU" sz="1400" dirty="0">
                <a:solidFill>
                  <a:srgbClr val="000000"/>
                </a:solidFill>
                <a:latin typeface="+mj-lt"/>
                <a:ea typeface="Times New Roman"/>
              </a:rPr>
              <a:t>стендовые коррозионные испытания макетов ТВС из стали ЭП823 в свинце с содержанием кислорода выше (̴10</a:t>
            </a:r>
            <a:r>
              <a:rPr lang="ru-RU" sz="1400" baseline="30000" dirty="0">
                <a:solidFill>
                  <a:srgbClr val="000000"/>
                </a:solidFill>
                <a:latin typeface="+mj-lt"/>
                <a:ea typeface="Times New Roman"/>
              </a:rPr>
              <a:t>-5 </a:t>
            </a:r>
            <a:r>
              <a:rPr lang="ru-RU" sz="1400" dirty="0">
                <a:solidFill>
                  <a:srgbClr val="000000"/>
                </a:solidFill>
                <a:latin typeface="+mj-lt"/>
                <a:ea typeface="Times New Roman"/>
              </a:rPr>
              <a:t>масс. %) и ниже (̴10</a:t>
            </a:r>
            <a:r>
              <a:rPr lang="ru-RU" sz="1400" baseline="30000" dirty="0">
                <a:solidFill>
                  <a:srgbClr val="000000"/>
                </a:solidFill>
                <a:latin typeface="+mj-lt"/>
                <a:ea typeface="Times New Roman"/>
              </a:rPr>
              <a:t>-7</a:t>
            </a:r>
            <a:r>
              <a:rPr lang="ru-RU" sz="1400" dirty="0">
                <a:solidFill>
                  <a:srgbClr val="000000"/>
                </a:solidFill>
                <a:latin typeface="+mj-lt"/>
                <a:ea typeface="Times New Roman"/>
              </a:rPr>
              <a:t>-10</a:t>
            </a:r>
            <a:r>
              <a:rPr lang="ru-RU" sz="1400" baseline="30000" dirty="0">
                <a:solidFill>
                  <a:srgbClr val="000000"/>
                </a:solidFill>
                <a:latin typeface="+mj-lt"/>
                <a:ea typeface="Times New Roman"/>
              </a:rPr>
              <a:t>-8</a:t>
            </a:r>
            <a:r>
              <a:rPr lang="ru-RU" sz="1400" dirty="0">
                <a:solidFill>
                  <a:srgbClr val="000000"/>
                </a:solidFill>
                <a:latin typeface="+mj-lt"/>
                <a:ea typeface="Times New Roman"/>
              </a:rPr>
              <a:t> масс. %) оптимального. Проводятся материаловедческие исследования.</a:t>
            </a:r>
          </a:p>
          <a:p>
            <a:pPr marL="285750" lvl="0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90000"/>
              <a:buFont typeface="Wingdings" pitchFamily="2" charset="2"/>
              <a:buChar char="§"/>
              <a:defRPr/>
            </a:pPr>
            <a:endParaRPr lang="ru-RU" sz="1400" dirty="0">
              <a:solidFill>
                <a:srgbClr val="414142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94"/>
            <a:ext cx="627185" cy="377825"/>
          </a:xfrm>
        </p:spPr>
        <p:txBody>
          <a:bodyPr/>
          <a:lstStyle/>
          <a:p>
            <a:pPr>
              <a:defRPr/>
            </a:pPr>
            <a:fld id="{4FEEEBC4-8AF0-4890-A8E3-DAF39D45F85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2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5247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87803" y="6386156"/>
            <a:ext cx="627185" cy="377825"/>
          </a:xfrm>
        </p:spPr>
        <p:txBody>
          <a:bodyPr/>
          <a:lstStyle/>
          <a:p>
            <a:pPr>
              <a:defRPr/>
            </a:pPr>
            <a:fld id="{4FEEEBC4-8AF0-4890-A8E3-DAF39D45F85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7631723" cy="962025"/>
          </a:xfrm>
        </p:spPr>
        <p:txBody>
          <a:bodyPr/>
          <a:lstStyle/>
          <a:p>
            <a:r>
              <a:rPr lang="ru-RU" sz="1800" dirty="0" smtClean="0"/>
              <a:t>Матрица параметров металлопродукции из стали ЭП823</a:t>
            </a:r>
            <a:endParaRPr lang="ru-RU" sz="18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89" t="17667" r="29462" b="15214"/>
          <a:stretch/>
        </p:blipFill>
        <p:spPr bwMode="auto">
          <a:xfrm>
            <a:off x="971600" y="978421"/>
            <a:ext cx="7344816" cy="5383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942702" y="6237312"/>
            <a:ext cx="7229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414142"/>
                </a:solidFill>
              </a:rPr>
              <a:t>     </a:t>
            </a:r>
            <a:r>
              <a:rPr lang="en-US" dirty="0" smtClean="0">
                <a:solidFill>
                  <a:srgbClr val="414142"/>
                </a:solidFill>
              </a:rPr>
              <a:t>   </a:t>
            </a:r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изготовлены опытные партии</a:t>
            </a:r>
          </a:p>
          <a:p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     </a:t>
            </a:r>
            <a:r>
              <a:rPr lang="en-US" sz="1600" b="1" dirty="0" smtClean="0">
                <a:solidFill>
                  <a:srgbClr val="414142">
                    <a:lumMod val="50000"/>
                  </a:srgbClr>
                </a:solidFill>
              </a:rPr>
              <a:t>    </a:t>
            </a:r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изготовлены опытные и промышленные </a:t>
            </a:r>
            <a:r>
              <a:rPr lang="ru-RU" sz="1600" b="1" dirty="0">
                <a:solidFill>
                  <a:srgbClr val="414142">
                    <a:lumMod val="50000"/>
                  </a:srgbClr>
                </a:solidFill>
              </a:rPr>
              <a:t>партии</a:t>
            </a:r>
          </a:p>
          <a:p>
            <a:endParaRPr lang="ru-RU" b="1" dirty="0">
              <a:solidFill>
                <a:srgbClr val="414142"/>
              </a:solidFill>
            </a:endParaRPr>
          </a:p>
          <a:p>
            <a:endParaRPr lang="ru-RU" dirty="0" smtClean="0">
              <a:solidFill>
                <a:srgbClr val="414142"/>
              </a:solidFill>
            </a:endParaRPr>
          </a:p>
          <a:p>
            <a:endParaRPr lang="ru-RU" dirty="0">
              <a:solidFill>
                <a:srgbClr val="414142"/>
              </a:solidFill>
            </a:endParaRPr>
          </a:p>
        </p:txBody>
      </p:sp>
      <p:pic>
        <p:nvPicPr>
          <p:cNvPr id="9" name="Picture 4" descr="C:\Users\EVSpitsyn\Desktop\плюс.jpg">
            <a:hlinkClick r:id="rId3" action="ppaction://hlinkfile" tooltip="Ожидаются в 2017 году"/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591" y="6352198"/>
            <a:ext cx="212090" cy="208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>
            <a:hlinkClick r:id="rId5" action="ppaction://hlinkfile" tooltip="ТУ 14-1-1135-74, ТУ 14-134-456-2014"/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591" y="6637362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7621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EEEBC4-8AF0-4890-A8E3-DAF39D45F85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94" t="26419" r="29018" b="19080"/>
          <a:stretch/>
        </p:blipFill>
        <p:spPr bwMode="auto">
          <a:xfrm>
            <a:off x="250017" y="980728"/>
            <a:ext cx="8495631" cy="5373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42702" y="6237312"/>
            <a:ext cx="7229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414142"/>
                </a:solidFill>
              </a:rPr>
              <a:t>     </a:t>
            </a:r>
            <a:r>
              <a:rPr lang="en-US" dirty="0" smtClean="0">
                <a:solidFill>
                  <a:srgbClr val="414142"/>
                </a:solidFill>
              </a:rPr>
              <a:t>   </a:t>
            </a:r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изготовлены опытные партии</a:t>
            </a:r>
          </a:p>
          <a:p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     </a:t>
            </a:r>
            <a:r>
              <a:rPr lang="en-US" sz="1600" b="1" dirty="0" smtClean="0">
                <a:solidFill>
                  <a:srgbClr val="414142">
                    <a:lumMod val="50000"/>
                  </a:srgbClr>
                </a:solidFill>
              </a:rPr>
              <a:t>    </a:t>
            </a:r>
            <a:r>
              <a:rPr lang="ru-RU" sz="1600" b="1" dirty="0" smtClean="0">
                <a:solidFill>
                  <a:srgbClr val="414142">
                    <a:lumMod val="50000"/>
                  </a:srgbClr>
                </a:solidFill>
              </a:rPr>
              <a:t>изготовлены опытные и промышленные </a:t>
            </a:r>
            <a:r>
              <a:rPr lang="ru-RU" sz="1600" b="1" dirty="0">
                <a:solidFill>
                  <a:srgbClr val="414142">
                    <a:lumMod val="50000"/>
                  </a:srgbClr>
                </a:solidFill>
              </a:rPr>
              <a:t>партии</a:t>
            </a:r>
          </a:p>
          <a:p>
            <a:endParaRPr lang="ru-RU" b="1" dirty="0">
              <a:solidFill>
                <a:srgbClr val="414142"/>
              </a:solidFill>
            </a:endParaRPr>
          </a:p>
          <a:p>
            <a:endParaRPr lang="ru-RU" dirty="0" smtClean="0">
              <a:solidFill>
                <a:srgbClr val="414142"/>
              </a:solidFill>
            </a:endParaRPr>
          </a:p>
          <a:p>
            <a:endParaRPr lang="ru-RU" dirty="0">
              <a:solidFill>
                <a:srgbClr val="414142"/>
              </a:solidFill>
            </a:endParaRPr>
          </a:p>
        </p:txBody>
      </p:sp>
      <p:pic>
        <p:nvPicPr>
          <p:cNvPr id="7" name="Picture 4" descr="C:\Users\EVSpitsyn\Desktop\плюс.jpg">
            <a:hlinkClick r:id="rId3" action="ppaction://hlinkfile" tooltip="Ожидаются в 2017 году"/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591" y="6352198"/>
            <a:ext cx="212090" cy="208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>
            <a:hlinkClick r:id="rId5" action="ppaction://hlinkfile" tooltip="ТУ 14-1-1135-74, ТУ 14-134-456-2014"/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591" y="6637362"/>
            <a:ext cx="2190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78092" y="18703"/>
            <a:ext cx="7631723" cy="962025"/>
          </a:xfrm>
        </p:spPr>
        <p:txBody>
          <a:bodyPr/>
          <a:lstStyle/>
          <a:p>
            <a:r>
              <a:rPr lang="ru-RU" sz="1800" dirty="0" smtClean="0"/>
              <a:t>Матрица параметров металлопродукции из стали ЭП823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8804468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>
            <a:spLocks noGrp="1" noChangeArrowheads="1"/>
          </p:cNvSpPr>
          <p:nvPr>
            <p:ph type="title"/>
          </p:nvPr>
        </p:nvSpPr>
        <p:spPr bwMode="auto">
          <a:xfrm>
            <a:off x="395536" y="378822"/>
            <a:ext cx="32140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Радиационная стойкость</a:t>
            </a:r>
          </a:p>
        </p:txBody>
      </p:sp>
      <p:sp>
        <p:nvSpPr>
          <p:cNvPr id="5" name="Прямоугольник 3"/>
          <p:cNvSpPr>
            <a:spLocks noChangeArrowheads="1"/>
          </p:cNvSpPr>
          <p:nvPr/>
        </p:nvSpPr>
        <p:spPr bwMode="auto">
          <a:xfrm>
            <a:off x="179511" y="1412776"/>
            <a:ext cx="9217025" cy="457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85750" indent="-285750"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Радиационная </a:t>
            </a: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стойкость стали ЭП823 имеет удовлетворительный уровень, </a:t>
            </a:r>
            <a:endParaRPr lang="ru-RU" sz="1600" dirty="0" smtClean="0">
              <a:solidFill>
                <a:srgbClr val="000000"/>
              </a:solidFill>
              <a:ea typeface="Times New Roman"/>
              <a:cs typeface="Times New Roman" pitchFamily="18" charset="0"/>
            </a:endParaRPr>
          </a:p>
          <a:p>
            <a:pPr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</a:pP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   что  </a:t>
            </a: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продемонстрировано на образцах в составе материаловедческой сборки  БН-600 </a:t>
            </a:r>
            <a:endParaRPr lang="ru-RU" sz="1600" dirty="0" smtClean="0">
              <a:solidFill>
                <a:srgbClr val="000000"/>
              </a:solidFill>
              <a:ea typeface="Times New Roman"/>
              <a:cs typeface="Times New Roman" pitchFamily="18" charset="0"/>
            </a:endParaRPr>
          </a:p>
          <a:p>
            <a:pPr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</a:pP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   (</a:t>
            </a:r>
            <a:r>
              <a:rPr lang="ru-RU" sz="1600" dirty="0" err="1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Т</a:t>
            </a:r>
            <a:r>
              <a:rPr lang="ru-RU" sz="1600" baseline="-25000" dirty="0" err="1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обл</a:t>
            </a:r>
            <a:r>
              <a:rPr lang="ru-RU" sz="1600" baseline="-250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</a:t>
            </a: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до 500ºС, доза 108 сна), на шестигранных чехлах ТВС реактора БН-600 </a:t>
            </a:r>
            <a:endParaRPr lang="ru-RU" sz="1600" dirty="0" smtClean="0">
              <a:solidFill>
                <a:srgbClr val="000000"/>
              </a:solidFill>
              <a:ea typeface="Times New Roman"/>
              <a:cs typeface="Times New Roman" pitchFamily="18" charset="0"/>
            </a:endParaRPr>
          </a:p>
          <a:p>
            <a:pPr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</a:pP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   (</a:t>
            </a:r>
            <a:r>
              <a:rPr lang="ru-RU" sz="1600" dirty="0" err="1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Т</a:t>
            </a:r>
            <a:r>
              <a:rPr lang="ru-RU" sz="1600" baseline="-25000" dirty="0" err="1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обл</a:t>
            </a:r>
            <a:r>
              <a:rPr lang="ru-RU" sz="1600" baseline="-250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 </a:t>
            </a: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до 600 ºС, </a:t>
            </a: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доза </a:t>
            </a:r>
            <a:r>
              <a:rPr lang="ru-RU" sz="1600" dirty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до 60 сна</a:t>
            </a:r>
            <a:r>
              <a:rPr lang="ru-RU" sz="1600" dirty="0" smtClean="0">
                <a:solidFill>
                  <a:srgbClr val="000000"/>
                </a:solidFill>
                <a:ea typeface="Times New Roman"/>
                <a:cs typeface="Times New Roman" pitchFamily="18" charset="0"/>
              </a:rPr>
              <a:t>).</a:t>
            </a:r>
          </a:p>
          <a:p>
            <a:pPr marL="285750" indent="-285750"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endParaRPr kumimoji="0" lang="ru-RU" sz="1600" b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L="285750" indent="-285750" algn="just" fontAlgn="base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Font typeface="Wingdings" pitchFamily="2" charset="2"/>
              <a:buChar char="§"/>
            </a:pP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 Следующие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радиационные исследования стали ЭП823 ориентированы на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испытания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в </a:t>
            </a:r>
            <a:endParaRPr kumimoji="0" lang="ru-RU" sz="1600" b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R="0" lvl="0" algn="just" defTabSz="914400" eaLnBrk="1" fontAlgn="auto" latinLnBrk="0" hangingPunct="1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ru-RU" sz="1600" kern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   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реакторе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БН-600 материаловедческих сборок с </a:t>
            </a:r>
            <a:r>
              <a:rPr kumimoji="0" lang="ru-RU" sz="16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выемным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 контейнером,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использование </a:t>
            </a:r>
          </a:p>
          <a:p>
            <a:pPr marR="0" lvl="0" algn="just" defTabSz="914400" eaLnBrk="1" fontAlgn="auto" latinLnBrk="0" hangingPunct="1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ru-RU" sz="1600" kern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   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которых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обеспечивает достижение повреждающих доз 140 сна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при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постоянных </a:t>
            </a:r>
            <a:endParaRPr kumimoji="0" lang="ru-RU" sz="1600" b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R="0" lvl="0" algn="just" defTabSz="914400" eaLnBrk="1" fontAlgn="auto" latinLnBrk="0" hangingPunct="1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ru-RU" sz="1600" kern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    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рабочих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параметрах в диапазоне температур 400-700 °С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при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минимальном влиянии </a:t>
            </a:r>
            <a:endParaRPr kumimoji="0" lang="ru-RU" sz="1600" b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R="0" lvl="0" algn="just" defTabSz="914400" eaLnBrk="1" fontAlgn="auto" latinLnBrk="0" hangingPunct="1">
              <a:lnSpc>
                <a:spcPct val="150000"/>
              </a:lnSpc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ru-RU" sz="1600" kern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1600" kern="0" dirty="0" smtClean="0">
                <a:solidFill>
                  <a:srgbClr val="000000"/>
                </a:solidFill>
                <a:cs typeface="Times New Roman" pitchFamily="18" charset="0"/>
              </a:rPr>
              <a:t>      </a:t>
            </a:r>
            <a:r>
              <a:rPr kumimoji="0" lang="ru-RU" sz="16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переходных 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режимов и </a:t>
            </a:r>
            <a:r>
              <a:rPr kumimoji="0" lang="ru-RU" sz="16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термокачек</a:t>
            </a:r>
            <a:r>
              <a:rPr kumimoji="0" lang="ru-RU" sz="16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itchFamily="18" charset="0"/>
              </a:rPr>
              <a:t>.</a:t>
            </a:r>
          </a:p>
          <a:p>
            <a:pPr marL="0" marR="0" lvl="0" indent="0" algn="just" defTabSz="914400" eaLnBrk="1" fontAlgn="auto" latinLnBrk="0" hangingPunct="1">
              <a:lnSpc>
                <a:spcPct val="150000"/>
              </a:lnSpc>
              <a:spcAft>
                <a:spcPts val="0"/>
              </a:spcAft>
              <a:buClr>
                <a:srgbClr val="CC0417"/>
              </a:buClr>
              <a:buSzTx/>
              <a:buFontTx/>
              <a:buNone/>
              <a:tabLst/>
              <a:defRPr/>
            </a:pPr>
            <a:endParaRPr kumimoji="0" lang="ru-RU" sz="1600" b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 </a:t>
            </a: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94"/>
            <a:ext cx="627185" cy="377825"/>
          </a:xfrm>
        </p:spPr>
        <p:txBody>
          <a:bodyPr/>
          <a:lstStyle/>
          <a:p>
            <a:pPr>
              <a:defRPr/>
            </a:pPr>
            <a:fld id="{4FEEEBC4-8AF0-4890-A8E3-DAF39D45F85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585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7344816" cy="699542"/>
          </a:xfrm>
        </p:spPr>
        <p:txBody>
          <a:bodyPr/>
          <a:lstStyle/>
          <a:p>
            <a:pPr algn="l"/>
            <a:r>
              <a:rPr lang="ru-RU" sz="2400" b="1" kern="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ль </a:t>
            </a:r>
            <a:r>
              <a:rPr lang="ru-RU" sz="2400" b="1" kern="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ЭП900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6602" y="1052736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8310" algn="just" fontAlgn="base">
              <a:spcAft>
                <a:spcPts val="0"/>
              </a:spcAft>
            </a:pPr>
            <a:r>
              <a:rPr lang="ru-RU" b="1" dirty="0">
                <a:solidFill>
                  <a:srgbClr val="000000"/>
                </a:solidFill>
                <a:ea typeface="Times New Roman"/>
              </a:rPr>
              <a:t>Сталь ЭП900 является жаропрочной модификацией стали ЭП823, отличается повышенным (̴ 0,14 масс.%) содержанием азота. </a:t>
            </a:r>
            <a:endParaRPr lang="ru-RU" b="1" dirty="0">
              <a:solidFill>
                <a:srgbClr val="000000"/>
              </a:solidFill>
              <a:effectLst/>
              <a:ea typeface="Times New Roman"/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5" y="1857140"/>
            <a:ext cx="5040560" cy="266429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8956" y="1857140"/>
            <a:ext cx="3744416" cy="266429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3851920" y="3351885"/>
            <a:ext cx="2016224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Микроструктура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труб 6,9×0,5 мм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</a:rPr>
              <a:t>и</a:t>
            </a:r>
            <a:r>
              <a:rPr lang="ru-RU" sz="1400" b="1" dirty="0" smtClean="0">
                <a:solidFill>
                  <a:srgbClr val="002060"/>
                </a:solidFill>
              </a:rPr>
              <a:t>з стали ЭП900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</a:rPr>
              <a:t>в</a:t>
            </a:r>
            <a:r>
              <a:rPr lang="ru-RU" sz="1400" b="1" dirty="0" smtClean="0">
                <a:solidFill>
                  <a:srgbClr val="002060"/>
                </a:solidFill>
              </a:rPr>
              <a:t> исходном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состоянии 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94"/>
            <a:ext cx="627185" cy="377825"/>
          </a:xfrm>
        </p:spPr>
        <p:txBody>
          <a:bodyPr/>
          <a:lstStyle/>
          <a:p>
            <a:pPr>
              <a:defRPr/>
            </a:pPr>
            <a:fld id="{4FEEEBC4-8AF0-4890-A8E3-DAF39D45F85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7544" y="4589271"/>
            <a:ext cx="84249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 fontAlgn="base"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sz="1600" b="1" dirty="0">
                <a:solidFill>
                  <a:prstClr val="black"/>
                </a:solidFill>
                <a:ea typeface="Times New Roman"/>
              </a:rPr>
              <a:t>Обладает повышенной структурной стабильностью и стабильностью механических свойств при термическом старении в интервале температур (450-670) ºС за счет присутствия в структуре дисперсных частиц нитридов хрома. </a:t>
            </a:r>
          </a:p>
          <a:p>
            <a:pPr marL="342900" lvl="0" indent="-342900" algn="just" fontAlgn="base"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sz="1600" b="1" dirty="0">
                <a:solidFill>
                  <a:prstClr val="black"/>
                </a:solidFill>
                <a:ea typeface="Times New Roman"/>
              </a:rPr>
              <a:t>Значения длительной прочности стали ЭП900 при температуре 650 ºС  на базе 10000 ч превосходят значения для ЭП823 примерно на 20%. </a:t>
            </a:r>
          </a:p>
        </p:txBody>
      </p:sp>
    </p:spTree>
    <p:extLst>
      <p:ext uri="{BB962C8B-B14F-4D97-AF65-F5344CB8AC3E}">
        <p14:creationId xmlns:p14="http://schemas.microsoft.com/office/powerpoint/2010/main" val="933786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7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3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450831"/>
            <a:ext cx="74888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Биметаллические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трубы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cs typeface="Times New Roman" pitchFamily="18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79512" y="1124744"/>
            <a:ext cx="922983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76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       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ea typeface="Times New Roman" pitchFamily="18" charset="0"/>
                <a:cs typeface="Times New Roman" pitchFamily="18" charset="0"/>
              </a:rPr>
              <a:t>В АО «ВНИИНМ» изготовлены опытные партии биметаллических труб размером 9,7×0,5 мм с различным соотношением слоев из сталей 05Х18С2МВФАЮ и ЭП900. Установлено, что оптимальное</a:t>
            </a:r>
            <a:r>
              <a:rPr kumimoji="0" lang="ru-RU" sz="1600" b="0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ea typeface="Times New Roman" pitchFamily="18" charset="0"/>
                <a:cs typeface="Times New Roman" pitchFamily="18" charset="0"/>
              </a:rPr>
              <a:t>соотношение слоев по комплексу свойств составляет 1:3.</a:t>
            </a:r>
            <a:r>
              <a:rPr lang="ru-RU" sz="1600" dirty="0">
                <a:solidFill>
                  <a:srgbClr val="002060"/>
                </a:solidFill>
                <a:cs typeface="Times New Roman" pitchFamily="18" charset="0"/>
              </a:rPr>
              <a:t>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cs typeface="Times New Roman" pitchFamily="18" charset="0"/>
            </a:endParaRPr>
          </a:p>
        </p:txBody>
      </p:sp>
      <p:pic>
        <p:nvPicPr>
          <p:cNvPr id="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70" y="2564904"/>
            <a:ext cx="2933022" cy="221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-183505" y="4858259"/>
            <a:ext cx="4046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447675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206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Микрофотография биметаллической трубы </a:t>
            </a:r>
            <a:endParaRPr lang="ru-RU" sz="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3699017" y="2334491"/>
            <a:ext cx="5304523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718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З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начение предела прочности биметаллических труб примерно на 20% выше по сравнению со сталью ЭП823. 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L="0" marR="0" lvl="0" indent="35718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Проведенные коррозионные испытания биметаллических труб в динамическом стенде со свинцовым теплоносителем в течение 1000 часов при концентрации кислорода в </a:t>
            </a:r>
            <a:r>
              <a:rPr kumimoji="0" lang="ru-RU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свинцеС</a:t>
            </a:r>
            <a:r>
              <a:rPr kumimoji="0" lang="ru-RU" sz="1600" b="0" i="0" u="none" strike="noStrike" kern="0" cap="none" spc="0" normalizeH="0" baseline="-3000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[</a:t>
            </a:r>
            <a:r>
              <a:rPr kumimoji="0" lang="en-US" sz="1600" b="0" i="0" u="none" strike="noStrike" kern="0" cap="none" spc="0" normalizeH="0" baseline="-3000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O</a:t>
            </a:r>
            <a:r>
              <a:rPr kumimoji="0" lang="ru-RU" sz="1600" b="0" i="0" u="none" strike="noStrike" kern="0" cap="none" spc="0" normalizeH="0" baseline="-3000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]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=(1-4)·10</a:t>
            </a:r>
            <a:r>
              <a:rPr kumimoji="0" lang="ru-RU" sz="1600" b="0" i="0" u="none" strike="noStrike" kern="0" cap="none" spc="0" normalizeH="0" baseline="3000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-6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% </a:t>
            </a:r>
            <a:r>
              <a:rPr kumimoji="0" lang="ru-RU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мас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c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Times New Roman" pitchFamily="18" charset="0"/>
                <a:cs typeface="Times New Roman" pitchFamily="18" charset="0"/>
              </a:rPr>
              <a:t>. и температуре 650 °С показали, что на образцах образуется плотная защитная оксидная пленка за счет повышенного  содержания кремния и легирования алюминием стали 05Х18С2МВФАЮ.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646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8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0" b="19182"/>
          <a:stretch/>
        </p:blipFill>
        <p:spPr bwMode="auto">
          <a:xfrm>
            <a:off x="304157" y="1505525"/>
            <a:ext cx="5168363" cy="3037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27930" y="4791279"/>
            <a:ext cx="44071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err="1">
                <a:solidFill>
                  <a:srgbClr val="003274"/>
                </a:solidFill>
                <a:ea typeface="Times New Roman"/>
              </a:rPr>
              <a:t>Т</a:t>
            </a:r>
            <a:r>
              <a:rPr lang="ru-RU" sz="1400" baseline="-25000" dirty="0" err="1">
                <a:solidFill>
                  <a:srgbClr val="003274"/>
                </a:solidFill>
                <a:ea typeface="Times New Roman"/>
              </a:rPr>
              <a:t>исп</a:t>
            </a:r>
            <a:r>
              <a:rPr lang="ru-RU" sz="1400" baseline="-25000" dirty="0">
                <a:solidFill>
                  <a:srgbClr val="003274"/>
                </a:solidFill>
                <a:ea typeface="Times New Roman"/>
              </a:rPr>
              <a:t>.</a:t>
            </a:r>
            <a:r>
              <a:rPr lang="ru-RU" sz="1400" dirty="0">
                <a:solidFill>
                  <a:srgbClr val="003274"/>
                </a:solidFill>
                <a:ea typeface="Times New Roman"/>
              </a:rPr>
              <a:t> = 700 °С:   1 - σ = 100 МПа;   2 - σ = 140 МПа;  </a:t>
            </a:r>
          </a:p>
          <a:p>
            <a:r>
              <a:rPr lang="ru-RU" sz="1400" dirty="0" err="1">
                <a:solidFill>
                  <a:srgbClr val="003274"/>
                </a:solidFill>
                <a:ea typeface="Times New Roman"/>
              </a:rPr>
              <a:t>Т</a:t>
            </a:r>
            <a:r>
              <a:rPr lang="ru-RU" sz="1400" baseline="-25000" dirty="0" err="1">
                <a:solidFill>
                  <a:srgbClr val="003274"/>
                </a:solidFill>
                <a:ea typeface="Times New Roman"/>
              </a:rPr>
              <a:t>исп</a:t>
            </a:r>
            <a:r>
              <a:rPr lang="ru-RU" sz="1400" baseline="-25000" dirty="0">
                <a:solidFill>
                  <a:srgbClr val="003274"/>
                </a:solidFill>
                <a:ea typeface="Times New Roman"/>
              </a:rPr>
              <a:t>. </a:t>
            </a:r>
            <a:r>
              <a:rPr lang="ru-RU" sz="1400" dirty="0">
                <a:solidFill>
                  <a:srgbClr val="003274"/>
                </a:solidFill>
                <a:ea typeface="Times New Roman"/>
              </a:rPr>
              <a:t>= 650 °С:   3 - σ = 100 МПа;   4 - σ = 140 МПа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9513" y="5445224"/>
            <a:ext cx="44644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C00000"/>
              </a:buClr>
            </a:pPr>
            <a:r>
              <a:rPr lang="ru-RU" sz="1500" b="1" dirty="0" smtClean="0">
                <a:solidFill>
                  <a:srgbClr val="002060"/>
                </a:solidFill>
              </a:rPr>
              <a:t>Сталь ЭП450 ДУО </a:t>
            </a:r>
            <a:r>
              <a:rPr lang="ru-RU" sz="1500" b="1" dirty="0">
                <a:solidFill>
                  <a:srgbClr val="002060"/>
                </a:solidFill>
              </a:rPr>
              <a:t>выдерживает без разрушения </a:t>
            </a:r>
            <a:r>
              <a:rPr lang="ru-RU" sz="1500" b="1" dirty="0" smtClean="0">
                <a:solidFill>
                  <a:srgbClr val="002060"/>
                </a:solidFill>
              </a:rPr>
              <a:t>под </a:t>
            </a:r>
            <a:r>
              <a:rPr lang="ru-RU" sz="1500" b="1" dirty="0">
                <a:solidFill>
                  <a:srgbClr val="002060"/>
                </a:solidFill>
              </a:rPr>
              <a:t>нагрузкой 100 МПа при 700 </a:t>
            </a:r>
            <a:r>
              <a:rPr lang="ru-RU" sz="1500" b="1" dirty="0">
                <a:solidFill>
                  <a:srgbClr val="002060"/>
                </a:solidFill>
                <a:sym typeface="Symbol"/>
              </a:rPr>
              <a:t></a:t>
            </a:r>
            <a:r>
              <a:rPr lang="ru-RU" sz="1500" b="1" dirty="0">
                <a:solidFill>
                  <a:srgbClr val="002060"/>
                </a:solidFill>
              </a:rPr>
              <a:t>С более 44000 ч  </a:t>
            </a:r>
            <a:r>
              <a:rPr lang="ru-RU" sz="1500" b="1" dirty="0" smtClean="0">
                <a:solidFill>
                  <a:srgbClr val="002060"/>
                </a:solidFill>
              </a:rPr>
              <a:t>(</a:t>
            </a:r>
            <a:r>
              <a:rPr lang="ru-RU" sz="1500" b="1" dirty="0">
                <a:solidFill>
                  <a:srgbClr val="002060"/>
                </a:solidFill>
              </a:rPr>
              <a:t>испытания продолжаются).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85051" y="0"/>
            <a:ext cx="7631723" cy="962025"/>
          </a:xfrm>
        </p:spPr>
        <p:txBody>
          <a:bodyPr/>
          <a:lstStyle/>
          <a:p>
            <a:r>
              <a:rPr lang="ru-RU" dirty="0" smtClean="0"/>
              <a:t> ДУО стали</a:t>
            </a:r>
            <a:endParaRPr lang="ru-RU" dirty="0"/>
          </a:p>
        </p:txBody>
      </p:sp>
      <p:pic>
        <p:nvPicPr>
          <p:cNvPr id="11" name="Picture 12" descr="HR 10_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160" y="1268760"/>
            <a:ext cx="2952328" cy="3043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184" y="4398945"/>
            <a:ext cx="4447336" cy="1831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07504" y="1018317"/>
            <a:ext cx="59766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Кривые ползучести </a:t>
            </a:r>
            <a:r>
              <a:rPr lang="ru-RU" sz="1600" b="1" dirty="0" smtClean="0">
                <a:solidFill>
                  <a:srgbClr val="002060"/>
                </a:solidFill>
              </a:rPr>
              <a:t>плоских </a:t>
            </a:r>
            <a:r>
              <a:rPr lang="ru-RU" sz="1600" b="1" dirty="0">
                <a:solidFill>
                  <a:srgbClr val="002060"/>
                </a:solidFill>
              </a:rPr>
              <a:t>образцов стали </a:t>
            </a:r>
            <a:r>
              <a:rPr lang="ru-RU" sz="1600" b="1" dirty="0" smtClean="0">
                <a:solidFill>
                  <a:srgbClr val="002060"/>
                </a:solidFill>
              </a:rPr>
              <a:t>ЭП450 ДУО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590367" y="4168587"/>
            <a:ext cx="364212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" name="Прямая со стрелкой 12"/>
          <p:cNvCxnSpPr/>
          <p:nvPr/>
        </p:nvCxnSpPr>
        <p:spPr>
          <a:xfrm flipV="1">
            <a:off x="4427984" y="4542961"/>
            <a:ext cx="307050" cy="967004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00813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/>
        </p:nvSpPr>
        <p:spPr bwMode="auto">
          <a:xfrm>
            <a:off x="22678" y="161277"/>
            <a:ext cx="9145016" cy="661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988" tIns="22994" rIns="45988" bIns="229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Влияние облучения в реакторе БН-600 на микроструктуру </a:t>
            </a:r>
            <a:r>
              <a:rPr kumimoji="0" lang="ru-RU" alt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стали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ЭП450</a:t>
            </a:r>
            <a:r>
              <a:rPr kumimoji="0" lang="ru-RU" alt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 </a:t>
            </a:r>
            <a:r>
              <a:rPr kumimoji="0" lang="ru-RU" alt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ДУО</a:t>
            </a:r>
            <a:endParaRPr kumimoji="0" lang="ru-RU" altLang="ru-RU" sz="2000" b="1" i="0" u="none" strike="noStrike" kern="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+mn-lt"/>
              <a:cs typeface="Times New Roman" pitchFamily="18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4" t="14079" r="9912"/>
          <a:stretch/>
        </p:blipFill>
        <p:spPr bwMode="auto">
          <a:xfrm>
            <a:off x="539552" y="1268760"/>
            <a:ext cx="8388424" cy="4968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244408" y="5805264"/>
            <a:ext cx="432048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82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9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1908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5400600" cy="699542"/>
          </a:xfrm>
        </p:spPr>
        <p:txBody>
          <a:bodyPr>
            <a:normAutofit/>
          </a:bodyPr>
          <a:lstStyle/>
          <a:p>
            <a:pPr algn="l"/>
            <a:r>
              <a:rPr lang="ru-RU" b="1" dirty="0" smtClean="0">
                <a:solidFill>
                  <a:srgbClr val="002060"/>
                </a:solidFill>
              </a:rPr>
              <a:t> Цель работ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3568" y="2126194"/>
            <a:ext cx="792088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8310" algn="just" fontAlgn="base">
              <a:lnSpc>
                <a:spcPct val="150000"/>
              </a:lnSpc>
            </a:pPr>
            <a:r>
              <a:rPr lang="ru-RU" sz="2000" b="1" dirty="0" smtClean="0">
                <a:solidFill>
                  <a:srgbClr val="000000"/>
                </a:solidFill>
                <a:ea typeface="Times New Roman"/>
              </a:rPr>
              <a:t>Разработка </a:t>
            </a:r>
            <a:r>
              <a:rPr lang="ru-RU" sz="2000" b="1" dirty="0">
                <a:solidFill>
                  <a:srgbClr val="000000"/>
                </a:solidFill>
                <a:ea typeface="Times New Roman"/>
              </a:rPr>
              <a:t>конструкционных материалов (КМ) для модернизации существующих и создания перспективных активных зон реакторов на быстрых нейтронах с жидкометалли­ческими теплоносителями (БРЕСТ-ОД-300, БН-1200, МБИР).</a:t>
            </a:r>
            <a:endParaRPr lang="ru-RU" sz="2000" b="1" dirty="0">
              <a:solidFill>
                <a:srgbClr val="000000"/>
              </a:solidFill>
              <a:effectLst/>
              <a:ea typeface="Times New Roman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3591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203654" y="17006"/>
            <a:ext cx="8712968" cy="87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994" tIns="22997" rIns="45994" bIns="2299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ДУО стали, разрабатываемые применительно к использованию в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качестве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болочек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твэлов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реактора со свинцовым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теплоносителем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kern="0" noProof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8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ыгорание СНУП топлива 9-12% </a:t>
            </a:r>
            <a:r>
              <a:rPr lang="ru-RU" sz="1800" b="1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.а</a:t>
            </a:r>
            <a:r>
              <a:rPr lang="ru-RU" sz="18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)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278554" y="944148"/>
            <a:ext cx="2202823" cy="569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994" tIns="22997" rIns="45994" bIns="22997" anchor="ctr">
            <a:spAutoFit/>
          </a:bodyPr>
          <a:lstStyle/>
          <a:p>
            <a:pPr defTabSz="459943">
              <a:defRPr/>
            </a:pPr>
            <a:r>
              <a:rPr lang="ru-RU" sz="2000" u="sng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таль </a:t>
            </a:r>
            <a:r>
              <a:rPr lang="ru-RU" sz="2000" u="sng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ЭП823  ДУО</a:t>
            </a:r>
          </a:p>
          <a:p>
            <a:pPr defTabSz="459943" eaLnBrk="0" hangingPunct="0">
              <a:defRPr/>
            </a:pP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C:\Users\acer\Desktop\823lej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399437"/>
            <a:ext cx="2801434" cy="21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3"/>
          <p:cNvGrpSpPr>
            <a:grpSpLocks/>
          </p:cNvGrpSpPr>
          <p:nvPr/>
        </p:nvGrpSpPr>
        <p:grpSpPr bwMode="auto">
          <a:xfrm>
            <a:off x="4354327" y="1421342"/>
            <a:ext cx="4329826" cy="2152418"/>
            <a:chOff x="9331969" y="5314202"/>
            <a:chExt cx="10225137" cy="6489248"/>
          </a:xfrm>
        </p:grpSpPr>
        <p:pic>
          <p:nvPicPr>
            <p:cNvPr id="8" name="Рисунок 1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24" t="4750"/>
            <a:stretch>
              <a:fillRect/>
            </a:stretch>
          </p:blipFill>
          <p:spPr bwMode="auto">
            <a:xfrm>
              <a:off x="9331969" y="5314202"/>
              <a:ext cx="10225137" cy="6489248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3" descr="C:\Users\acer\Desktop\Безымянный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47994" y="5519705"/>
              <a:ext cx="4424486" cy="3389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6948264" y="1539561"/>
            <a:ext cx="1831975" cy="180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994" tIns="22997" rIns="45994" bIns="2299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Средний размер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оксидов 20 </a:t>
            </a: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нм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Концентрация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cs typeface="Arial" charset="0"/>
              </a:rPr>
              <a:t>~</a:t>
            </a:r>
            <a:r>
              <a:rPr kumimoji="0" lang="ru-RU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cs typeface="Arial" charset="0"/>
              </a:rPr>
              <a:t> 2×</a:t>
            </a: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10</a:t>
            </a:r>
            <a:r>
              <a:rPr kumimoji="0" lang="en-US" alt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15</a:t>
            </a:r>
            <a:r>
              <a:rPr kumimoji="0" lang="ru-RU" alt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ru-RU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см</a:t>
            </a:r>
            <a:r>
              <a:rPr kumimoji="0" lang="en-US" altLang="en-US" sz="1600" b="1" i="0" u="none" strike="noStrike" kern="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cs typeface="Arial" charset="0"/>
              </a:rPr>
              <a:t>-3</a:t>
            </a: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82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0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108930" y="3644454"/>
            <a:ext cx="26737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9943">
              <a:defRPr/>
            </a:pPr>
            <a:r>
              <a:rPr lang="ru-RU" u="sng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таль Х16Ю4В2СТ </a:t>
            </a:r>
            <a:r>
              <a:rPr lang="ru-RU" u="sng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УО</a:t>
            </a:r>
            <a:endParaRPr lang="ru-RU" u="sng" dirty="0">
              <a:solidFill>
                <a:srgbClr val="00206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4" name="Picture 2" descr="C:\Users\acer\Desktop\Untitled-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728" y="4013786"/>
            <a:ext cx="2717225" cy="2077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17"/>
          <a:stretch>
            <a:fillRect/>
          </a:stretch>
        </p:blipFill>
        <p:spPr bwMode="auto">
          <a:xfrm>
            <a:off x="4319807" y="4062529"/>
            <a:ext cx="4329825" cy="20773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5"/>
          <p:cNvSpPr>
            <a:spLocks noChangeArrowheads="1"/>
          </p:cNvSpPr>
          <p:nvPr/>
        </p:nvSpPr>
        <p:spPr bwMode="auto">
          <a:xfrm>
            <a:off x="5940152" y="4229224"/>
            <a:ext cx="3494087" cy="41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94" tIns="22997" rIns="45994" bIns="22997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</a:rPr>
              <a:t>Средний размер     </a:t>
            </a:r>
            <a:r>
              <a:rPr lang="ru-RU" sz="1200" b="1" dirty="0" smtClean="0">
                <a:solidFill>
                  <a:srgbClr val="002060"/>
                </a:solidFill>
              </a:rPr>
              <a:t>  </a:t>
            </a:r>
            <a:r>
              <a:rPr lang="ru-RU" sz="1200" b="1" dirty="0">
                <a:solidFill>
                  <a:srgbClr val="002060"/>
                </a:solidFill>
              </a:rPr>
              <a:t>Концентрация 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оксидов 40 </a:t>
            </a:r>
            <a:r>
              <a:rPr lang="ru-RU" sz="1200" b="1" dirty="0" err="1">
                <a:solidFill>
                  <a:srgbClr val="002060"/>
                </a:solidFill>
              </a:rPr>
              <a:t>нм</a:t>
            </a:r>
            <a:r>
              <a:rPr lang="ru-RU" sz="1200" b="1" dirty="0">
                <a:solidFill>
                  <a:srgbClr val="002060"/>
                </a:solidFill>
              </a:rPr>
              <a:t>         </a:t>
            </a:r>
            <a:r>
              <a:rPr lang="en-US" altLang="en-US" sz="1200" b="1" dirty="0" smtClean="0">
                <a:solidFill>
                  <a:srgbClr val="002060"/>
                </a:solidFill>
                <a:latin typeface="Cambria Math" pitchFamily="18" charset="0"/>
              </a:rPr>
              <a:t>~</a:t>
            </a:r>
            <a:r>
              <a:rPr lang="ru-RU" altLang="en-US" sz="1200" b="1" dirty="0" smtClean="0">
                <a:solidFill>
                  <a:srgbClr val="002060"/>
                </a:solidFill>
                <a:latin typeface="Cambria Math" pitchFamily="18" charset="0"/>
              </a:rPr>
              <a:t> </a:t>
            </a:r>
            <a:r>
              <a:rPr lang="en-US" altLang="en-US" sz="1200" b="1" dirty="0">
                <a:solidFill>
                  <a:srgbClr val="002060"/>
                </a:solidFill>
              </a:rPr>
              <a:t>10</a:t>
            </a:r>
            <a:r>
              <a:rPr lang="en-US" altLang="en-US" sz="1200" b="1" baseline="30000" dirty="0">
                <a:solidFill>
                  <a:srgbClr val="002060"/>
                </a:solidFill>
              </a:rPr>
              <a:t>15</a:t>
            </a:r>
            <a:r>
              <a:rPr lang="ru-RU" altLang="en-US" sz="1200" b="1" baseline="30000" dirty="0">
                <a:solidFill>
                  <a:srgbClr val="002060"/>
                </a:solidFill>
              </a:rPr>
              <a:t> </a:t>
            </a:r>
            <a:r>
              <a:rPr lang="en-US" altLang="en-US" sz="1200" b="1" dirty="0">
                <a:solidFill>
                  <a:srgbClr val="002060"/>
                </a:solidFill>
              </a:rPr>
              <a:t> </a:t>
            </a:r>
            <a:r>
              <a:rPr lang="ru-RU" altLang="en-US" sz="1200" b="1" dirty="0">
                <a:solidFill>
                  <a:srgbClr val="002060"/>
                </a:solidFill>
              </a:rPr>
              <a:t>см</a:t>
            </a:r>
            <a:r>
              <a:rPr lang="en-US" altLang="en-US" sz="1200" b="1" baseline="30000" dirty="0">
                <a:solidFill>
                  <a:srgbClr val="002060"/>
                </a:solidFill>
              </a:rPr>
              <a:t>-3</a:t>
            </a:r>
            <a:endParaRPr lang="en-US" altLang="en-US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8453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730ED4-CE84-44D0-BFF0-FF76C1380437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  <p:sp>
        <p:nvSpPr>
          <p:cNvPr id="19459" name="Rectangle 2"/>
          <p:cNvSpPr txBox="1">
            <a:spLocks noChangeArrowheads="1"/>
          </p:cNvSpPr>
          <p:nvPr/>
        </p:nvSpPr>
        <p:spPr bwMode="auto">
          <a:xfrm>
            <a:off x="383931" y="300026"/>
            <a:ext cx="7174523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b="1" dirty="0" smtClean="0">
                <a:solidFill>
                  <a:schemeClr val="tx2"/>
                </a:solidFill>
              </a:rPr>
              <a:t>Сплавы ванадия</a:t>
            </a:r>
            <a:r>
              <a:rPr lang="ru-RU" sz="2000" b="1" kern="0" dirty="0" smtClean="0">
                <a:solidFill>
                  <a:srgbClr val="003274"/>
                </a:solidFill>
                <a:latin typeface="Arial"/>
                <a:ea typeface="+mj-ea"/>
                <a:cs typeface="Arial"/>
              </a:rPr>
              <a:t> </a:t>
            </a:r>
            <a:r>
              <a:rPr lang="ru-RU" sz="2400" b="1" dirty="0" smtClean="0">
                <a:solidFill>
                  <a:schemeClr val="tx2"/>
                </a:solidFill>
              </a:rPr>
              <a:t> </a:t>
            </a:r>
            <a:endParaRPr lang="ru-RU" sz="2400" b="1" dirty="0">
              <a:solidFill>
                <a:schemeClr val="tx2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184174"/>
            <a:ext cx="7827963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54057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5400600" cy="699542"/>
          </a:xfrm>
        </p:spPr>
        <p:txBody>
          <a:bodyPr/>
          <a:lstStyle/>
          <a:p>
            <a:pPr algn="l"/>
            <a:r>
              <a:rPr lang="ru-RU" sz="24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Заключение</a:t>
            </a:r>
            <a:endParaRPr lang="ru-RU" sz="2400" b="1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8582" y="1268760"/>
            <a:ext cx="871296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>
                <a:solidFill>
                  <a:srgbClr val="000000"/>
                </a:solidFill>
                <a:ea typeface="Times New Roman"/>
              </a:rPr>
              <a:t>Представлены основные тематические направления и результаты работ по разработке и исследованию конструкционных материалов для активных зон реакторов на быстрых нейтронах с натриевым  и свинцовым и теплоносителями</a:t>
            </a:r>
            <a:r>
              <a:rPr lang="ru-RU" dirty="0" smtClean="0">
                <a:solidFill>
                  <a:srgbClr val="000000"/>
                </a:solidFill>
                <a:ea typeface="Times New Roman"/>
              </a:rPr>
              <a:t>.</a:t>
            </a:r>
          </a:p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 smtClean="0">
                <a:solidFill>
                  <a:srgbClr val="000000"/>
                </a:solidFill>
                <a:ea typeface="Times New Roman"/>
              </a:rPr>
              <a:t>Для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реакторов с </a:t>
            </a:r>
            <a:r>
              <a:rPr lang="ru-RU" dirty="0" smtClean="0">
                <a:solidFill>
                  <a:srgbClr val="000000"/>
                </a:solidFill>
                <a:ea typeface="Times New Roman"/>
              </a:rPr>
              <a:t>жидкометаллическим теплоносителем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ключевой является задача по созданию радиационно-стойких и жаропрочных оболочечных материалов, обеспечивающих достижение повреждающих доз не менее 140 сна.</a:t>
            </a:r>
            <a:endParaRPr lang="ru-RU" dirty="0">
              <a:solidFill>
                <a:prstClr val="black"/>
              </a:solidFill>
              <a:ea typeface="Times New Roman"/>
            </a:endParaRPr>
          </a:p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>
                <a:solidFill>
                  <a:srgbClr val="000000"/>
                </a:solidFill>
                <a:ea typeface="Times New Roman"/>
              </a:rPr>
              <a:t>Основной материал для оболочек </a:t>
            </a:r>
            <a:r>
              <a:rPr lang="ru-RU" dirty="0" err="1">
                <a:solidFill>
                  <a:srgbClr val="000000"/>
                </a:solidFill>
                <a:ea typeface="Times New Roman"/>
              </a:rPr>
              <a:t>твэлов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 и элементов ТВС реактора БРЕСТ-ОД-300  - ферритно-мартенситная сталь ЭП823 с повышенным содержанием кремния. </a:t>
            </a:r>
          </a:p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>
                <a:solidFill>
                  <a:srgbClr val="000000"/>
                </a:solidFill>
                <a:ea typeface="Times New Roman"/>
              </a:rPr>
              <a:t>В качестве материалов, рассчитанных на повышенное выгорание СНУП топлива (свыше 6% </a:t>
            </a:r>
            <a:r>
              <a:rPr lang="ru-RU" dirty="0" err="1">
                <a:solidFill>
                  <a:srgbClr val="000000"/>
                </a:solidFill>
                <a:ea typeface="Times New Roman"/>
              </a:rPr>
              <a:t>т.а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.), рассматривается сталь ЭП900, а также биметаллические трубы и ДУО стали. Для всех материалов проводятся работы по обоснованию их радиационной стойкости.</a:t>
            </a:r>
          </a:p>
          <a:p>
            <a:pPr lvl="0" indent="450215" algn="just">
              <a:spcBef>
                <a:spcPts val="600"/>
              </a:spcBef>
            </a:pPr>
            <a:endParaRPr lang="ru-RU" dirty="0" smtClean="0">
              <a:solidFill>
                <a:srgbClr val="000000"/>
              </a:solidFill>
              <a:latin typeface="Times New Roman"/>
              <a:ea typeface="Times New Roman"/>
            </a:endParaRP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60373" y="6448482"/>
            <a:ext cx="627185" cy="377825"/>
          </a:xfrm>
        </p:spPr>
        <p:txBody>
          <a:bodyPr/>
          <a:lstStyle/>
          <a:p>
            <a:pPr>
              <a:defRPr/>
            </a:pPr>
            <a:fld id="{20730ED4-CE84-44D0-BFF0-FF76C1380437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3815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20898" y="188640"/>
            <a:ext cx="5400600" cy="699542"/>
          </a:xfrm>
        </p:spPr>
        <p:txBody>
          <a:bodyPr/>
          <a:lstStyle/>
          <a:p>
            <a:pPr algn="l"/>
            <a:r>
              <a:rPr lang="ru-RU" sz="24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Заключение</a:t>
            </a:r>
            <a:endParaRPr lang="ru-RU" sz="2400" b="1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6409" y="1521530"/>
            <a:ext cx="8712968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 smtClean="0">
                <a:solidFill>
                  <a:srgbClr val="000000"/>
                </a:solidFill>
                <a:ea typeface="Times New Roman"/>
              </a:rPr>
              <a:t>На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опыте исследования, внедрения и эксплуатации стали ЧС68 решение </a:t>
            </a:r>
            <a:r>
              <a:rPr lang="ru-RU" dirty="0" smtClean="0">
                <a:solidFill>
                  <a:srgbClr val="000000"/>
                </a:solidFill>
                <a:ea typeface="Times New Roman"/>
              </a:rPr>
              <a:t>задачи для ректоров с натриевым теплоносителем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предусмотрено за счет поэтапного использования в качестве оболочек </a:t>
            </a:r>
            <a:r>
              <a:rPr lang="ru-RU" dirty="0" err="1">
                <a:solidFill>
                  <a:srgbClr val="000000"/>
                </a:solidFill>
                <a:ea typeface="Times New Roman"/>
              </a:rPr>
              <a:t>твэлов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000000"/>
                </a:solidFill>
                <a:ea typeface="Times New Roman"/>
              </a:rPr>
              <a:t>аустенитной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 стали нового поколения ЭК164, дисперсионно-твердеющих жаропрочных ферритно-мартенситных сталей ЭК181 и ЧС139 (максимальная повреждающая доза ~140 сна) и дисперсно-упрочненных оксидами (ДУО) сталей (максимальная повреждающая доза свыше 140 сна). </a:t>
            </a:r>
            <a:endParaRPr lang="ru-RU" dirty="0" smtClean="0">
              <a:solidFill>
                <a:srgbClr val="000000"/>
              </a:solidFill>
              <a:ea typeface="Times New Roman"/>
            </a:endParaRPr>
          </a:p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 smtClean="0">
                <a:solidFill>
                  <a:srgbClr val="000000"/>
                </a:solidFill>
                <a:ea typeface="Times New Roman"/>
              </a:rPr>
              <a:t>Перспективными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материалами для активных </a:t>
            </a:r>
            <a:r>
              <a:rPr lang="ru-RU" dirty="0" smtClean="0">
                <a:solidFill>
                  <a:srgbClr val="000000"/>
                </a:solidFill>
                <a:ea typeface="Times New Roman"/>
              </a:rPr>
              <a:t>зон с различным типом теплоносителя,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рассчитанными на повышенные параметры по температуре и дозе облучения, являются сплавы ванадия. </a:t>
            </a:r>
            <a:endParaRPr lang="ru-RU" dirty="0" smtClean="0">
              <a:solidFill>
                <a:srgbClr val="000000"/>
              </a:solidFill>
              <a:ea typeface="Times New Roman"/>
            </a:endParaRPr>
          </a:p>
          <a:p>
            <a:pPr marL="285750" lvl="0" indent="-285750" algn="just">
              <a:spcBef>
                <a:spcPts val="600"/>
              </a:spcBef>
              <a:buClr>
                <a:srgbClr val="FF0000"/>
              </a:buClr>
              <a:buSzPct val="80000"/>
              <a:buFont typeface="Wingdings" pitchFamily="2" charset="2"/>
              <a:buChar char="q"/>
            </a:pPr>
            <a:r>
              <a:rPr lang="ru-RU" dirty="0" smtClean="0">
                <a:solidFill>
                  <a:srgbClr val="000000"/>
                </a:solidFill>
                <a:ea typeface="Times New Roman"/>
              </a:rPr>
              <a:t>Проводятся </a:t>
            </a:r>
            <a:r>
              <a:rPr lang="ru-RU" dirty="0">
                <a:solidFill>
                  <a:srgbClr val="000000"/>
                </a:solidFill>
                <a:ea typeface="Times New Roman"/>
              </a:rPr>
              <a:t>работы по технологическому освоению и исследованию радиационной стойкости </a:t>
            </a:r>
            <a:r>
              <a:rPr lang="ru-RU" dirty="0" smtClean="0">
                <a:solidFill>
                  <a:srgbClr val="000000"/>
                </a:solidFill>
                <a:ea typeface="Times New Roman"/>
              </a:rPr>
              <a:t>всех материалов. </a:t>
            </a:r>
            <a:endParaRPr lang="ru-RU" sz="1200" dirty="0">
              <a:solidFill>
                <a:prstClr val="black"/>
              </a:solidFill>
              <a:ea typeface="Times New Roman"/>
            </a:endParaRP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60373" y="6448482"/>
            <a:ext cx="627185" cy="377825"/>
          </a:xfrm>
        </p:spPr>
        <p:txBody>
          <a:bodyPr/>
          <a:lstStyle/>
          <a:p>
            <a:pPr>
              <a:defRPr/>
            </a:pPr>
            <a:fld id="{20730ED4-CE84-44D0-BFF0-FF76C1380437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0881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3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7" name="Заголовок 8215"/>
          <p:cNvSpPr>
            <a:spLocks noGrp="1"/>
          </p:cNvSpPr>
          <p:nvPr>
            <p:ph type="title"/>
          </p:nvPr>
        </p:nvSpPr>
        <p:spPr>
          <a:xfrm>
            <a:off x="251527" y="103779"/>
            <a:ext cx="7631723" cy="962025"/>
          </a:xfrm>
        </p:spPr>
        <p:txBody>
          <a:bodyPr/>
          <a:lstStyle/>
          <a:p>
            <a:r>
              <a:rPr lang="ru-RU" dirty="0" smtClean="0">
                <a:solidFill>
                  <a:schemeClr val="tx2"/>
                </a:solidFill>
              </a:rPr>
              <a:t> Состав работ по разработке и обоснованию КМ</a:t>
            </a:r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1" t="27578" r="4277" b="14592"/>
          <a:stretch/>
        </p:blipFill>
        <p:spPr bwMode="auto">
          <a:xfrm>
            <a:off x="395536" y="1196752"/>
            <a:ext cx="8280920" cy="496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8413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51520" y="4182"/>
            <a:ext cx="7631723" cy="962025"/>
          </a:xfrm>
        </p:spPr>
        <p:txBody>
          <a:bodyPr>
            <a:normAutofit/>
          </a:bodyPr>
          <a:lstStyle/>
          <a:p>
            <a:pPr algn="l"/>
            <a:r>
              <a:rPr lang="ru-RU" sz="2400" b="1" dirty="0">
                <a:solidFill>
                  <a:srgbClr val="002060"/>
                </a:solidFill>
                <a:latin typeface="+mn-lt"/>
                <a:ea typeface="Times New Roman"/>
              </a:rPr>
              <a:t>Основные технологические направления при разработке КМ: </a:t>
            </a:r>
            <a:endParaRPr lang="ru-RU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3343" y="1220669"/>
            <a:ext cx="8712968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 smtClean="0">
                <a:latin typeface="Times New Roman"/>
                <a:ea typeface="Times New Roman"/>
              </a:rPr>
              <a:t>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О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птимизация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металлургического производства, в частности, применение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 специальных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шихтовых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материалов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.</a:t>
            </a:r>
            <a:endParaRPr lang="ru-RU" b="1" dirty="0" smtClean="0">
              <a:solidFill>
                <a:srgbClr val="000000"/>
              </a:solidFill>
              <a:latin typeface="+mj-lt"/>
              <a:ea typeface="Times New Roman"/>
            </a:endParaRPr>
          </a:p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С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ужение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заданных интервалов содержания легирующих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элементов. </a:t>
            </a:r>
          </a:p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С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нижение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количества неметаллических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включений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.</a:t>
            </a:r>
            <a:endParaRPr lang="ru-RU" b="1" dirty="0" smtClean="0">
              <a:solidFill>
                <a:srgbClr val="000000"/>
              </a:solidFill>
              <a:latin typeface="+mj-lt"/>
              <a:ea typeface="Times New Roman"/>
            </a:endParaRPr>
          </a:p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П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рименение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специальных способов обработки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расплавов. </a:t>
            </a:r>
          </a:p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У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совершенствование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производства всех видов металлопродукции, прежде всего, комплектующих </a:t>
            </a:r>
            <a:r>
              <a:rPr lang="ru-RU" b="1" dirty="0" err="1">
                <a:solidFill>
                  <a:srgbClr val="000000"/>
                </a:solidFill>
                <a:latin typeface="+mj-lt"/>
                <a:ea typeface="Times New Roman"/>
              </a:rPr>
              <a:t>твэлов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и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ТВС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.</a:t>
            </a:r>
            <a:endParaRPr lang="ru-RU" b="1" dirty="0" smtClean="0">
              <a:solidFill>
                <a:srgbClr val="000000"/>
              </a:solidFill>
              <a:latin typeface="+mj-lt"/>
              <a:ea typeface="Times New Roman"/>
            </a:endParaRPr>
          </a:p>
          <a:p>
            <a:pPr marL="285750" indent="-285750" algn="just" fontAlgn="base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90000"/>
              <a:buFont typeface="Wingdings" pitchFamily="2" charset="2"/>
              <a:buChar char="q"/>
            </a:pP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И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Times New Roman"/>
              </a:rPr>
              <a:t>сследование 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комплекса свойств материалов и исходном состоянии и после облучения для прочностных расчетов </a:t>
            </a:r>
            <a:r>
              <a:rPr lang="ru-RU" b="1" dirty="0" err="1">
                <a:solidFill>
                  <a:srgbClr val="000000"/>
                </a:solidFill>
                <a:latin typeface="+mj-lt"/>
                <a:ea typeface="Times New Roman"/>
              </a:rPr>
              <a:t>твэлов</a:t>
            </a:r>
            <a:r>
              <a:rPr lang="ru-RU" b="1" dirty="0">
                <a:solidFill>
                  <a:srgbClr val="000000"/>
                </a:solidFill>
                <a:latin typeface="+mj-lt"/>
                <a:ea typeface="Times New Roman"/>
              </a:rPr>
              <a:t> и ТВС, создания моделей, их верификации, а так же аттестации и сертификации материалов.</a:t>
            </a:r>
            <a:endParaRPr lang="ru-RU" b="1" dirty="0">
              <a:solidFill>
                <a:srgbClr val="000000"/>
              </a:solidFill>
              <a:effectLst/>
              <a:latin typeface="+mj-lt"/>
              <a:ea typeface="Times New Roman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4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86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1800" b="1" kern="0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Разработки в области КМ для оболочек </a:t>
            </a:r>
            <a:r>
              <a:rPr lang="ru-RU" altLang="ru-RU" sz="1800" b="1" kern="0" dirty="0" err="1">
                <a:solidFill>
                  <a:srgbClr val="002060"/>
                </a:solidFill>
                <a:latin typeface="+mn-lt"/>
                <a:cs typeface="Times New Roman" pitchFamily="18" charset="0"/>
              </a:rPr>
              <a:t>твэлов</a:t>
            </a:r>
            <a:r>
              <a:rPr lang="ru-RU" altLang="ru-RU" sz="1800" b="1" kern="0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 для перспективных реакторов  БР</a:t>
            </a:r>
            <a:endParaRPr lang="ru-RU" sz="1800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33"/>
          <a:stretch/>
        </p:blipFill>
        <p:spPr bwMode="auto">
          <a:xfrm>
            <a:off x="363727" y="1412776"/>
            <a:ext cx="8757572" cy="5177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5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064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395536" y="260648"/>
            <a:ext cx="5400600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Сталь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ЧС68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5" name="Рисунок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57168"/>
            <a:ext cx="2736304" cy="2551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59" y="4005064"/>
            <a:ext cx="2418700" cy="2012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3131840" y="1556792"/>
            <a:ext cx="5759450" cy="409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indent="361950" algn="just"/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Для улучшения качества труб из стали </a:t>
            </a:r>
            <a:r>
              <a:rPr lang="ru-RU" sz="20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ЧС68:</a:t>
            </a:r>
            <a:endParaRPr lang="ru-RU" sz="2000" dirty="0">
              <a:solidFill>
                <a:srgbClr val="002060"/>
              </a:solidFill>
              <a:latin typeface="+mj-lt"/>
              <a:cs typeface="Times New Roman" pitchFamily="18" charset="0"/>
            </a:endParaRPr>
          </a:p>
          <a:p>
            <a:pPr indent="361950" algn="just"/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-  </a:t>
            </a:r>
            <a:r>
              <a:rPr lang="ru-RU" sz="20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оптимизирован и сужен 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химический состав стали ЧС68;</a:t>
            </a:r>
          </a:p>
          <a:p>
            <a:pPr indent="361950" algn="just"/>
            <a:r>
              <a:rPr lang="ru-RU" sz="20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- использована операция 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диффузионного отжига на </a:t>
            </a:r>
            <a:r>
              <a:rPr lang="ru-RU" sz="2000" dirty="0" err="1">
                <a:solidFill>
                  <a:srgbClr val="002060"/>
                </a:solidFill>
                <a:latin typeface="+mj-lt"/>
                <a:cs typeface="Times New Roman" pitchFamily="18" charset="0"/>
              </a:rPr>
              <a:t>передельной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 трубе;</a:t>
            </a:r>
          </a:p>
          <a:p>
            <a:pPr indent="361950" algn="just"/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- </a:t>
            </a:r>
            <a:r>
              <a:rPr lang="ru-RU" sz="20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повышена температура 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промежуточных </a:t>
            </a:r>
            <a:r>
              <a:rPr lang="ru-RU" sz="2000" dirty="0" err="1">
                <a:solidFill>
                  <a:srgbClr val="002060"/>
                </a:solidFill>
                <a:latin typeface="+mj-lt"/>
                <a:cs typeface="Times New Roman" pitchFamily="18" charset="0"/>
              </a:rPr>
              <a:t>аустенитизирующих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 отжигов с использованием установки форсированного нагрева;</a:t>
            </a:r>
          </a:p>
          <a:p>
            <a:pPr indent="361950" algn="just"/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- </a:t>
            </a:r>
            <a:r>
              <a:rPr lang="ru-RU" sz="20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использована схема </a:t>
            </a:r>
            <a:r>
              <a:rPr lang="ru-RU" sz="20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короткооправочного волочения для создания заключительного холоднодеформированного состояния.</a:t>
            </a:r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6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783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>
          <a:xfrm>
            <a:off x="323528" y="188640"/>
            <a:ext cx="8136904" cy="699542"/>
          </a:xfrm>
        </p:spPr>
        <p:txBody>
          <a:bodyPr/>
          <a:lstStyle/>
          <a:p>
            <a:pPr algn="l" eaLnBrk="1" hangingPunct="1"/>
            <a:r>
              <a:rPr lang="ru-RU" altLang="ru-RU" sz="16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Результаты </a:t>
            </a:r>
            <a:r>
              <a:rPr lang="ru-RU" altLang="ru-RU" sz="1600" b="1" dirty="0" err="1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послереакторных</a:t>
            </a:r>
            <a:r>
              <a:rPr lang="ru-RU" altLang="ru-RU" sz="16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 исследований </a:t>
            </a:r>
            <a:r>
              <a:rPr lang="en-US" altLang="ru-RU" sz="16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altLang="ru-RU" sz="16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реперных ТВС с оболочками </a:t>
            </a:r>
            <a:r>
              <a:rPr lang="ru-RU" altLang="ru-RU" sz="1600" b="1" dirty="0" err="1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твэлов</a:t>
            </a:r>
            <a:r>
              <a:rPr lang="ru-RU" altLang="ru-RU" sz="16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 из ЧС68 реактора БН-600</a:t>
            </a:r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-36512" y="1056995"/>
            <a:ext cx="45926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Внешний вид торцевой части </a:t>
            </a:r>
          </a:p>
          <a:p>
            <a:pPr algn="ctr" eaLnBrk="1" hangingPunct="1"/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пучка </a:t>
            </a:r>
            <a:r>
              <a:rPr lang="ru-RU" altLang="ru-RU" sz="1200" b="1" dirty="0" err="1">
                <a:solidFill>
                  <a:srgbClr val="000000"/>
                </a:solidFill>
                <a:latin typeface="+mn-lt"/>
                <a:cs typeface="Times New Roman" pitchFamily="18" charset="0"/>
              </a:rPr>
              <a:t>твэлов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 реперной ТВС с оболочками </a:t>
            </a:r>
          </a:p>
          <a:p>
            <a:pPr algn="ctr" eaLnBrk="1" hangingPunct="1"/>
            <a:r>
              <a:rPr lang="ru-RU" altLang="ru-RU" sz="1200" b="1" dirty="0" err="1">
                <a:solidFill>
                  <a:srgbClr val="000000"/>
                </a:solidFill>
                <a:latin typeface="+mn-lt"/>
                <a:cs typeface="Times New Roman" pitchFamily="18" charset="0"/>
              </a:rPr>
              <a:t>твэлов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 из стали ЧС68, изготовленных по 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различным     </a:t>
            </a:r>
            <a:endParaRPr lang="ru-RU" altLang="ru-RU" sz="1200" b="1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algn="ctr" eaLnBrk="1" hangingPunct="1"/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технологиям </a:t>
            </a:r>
          </a:p>
        </p:txBody>
      </p:sp>
      <p:pic>
        <p:nvPicPr>
          <p:cNvPr id="6" name="Рисунок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28" t="10612" r="5803" b="10596"/>
          <a:stretch>
            <a:fillRect/>
          </a:stretch>
        </p:blipFill>
        <p:spPr bwMode="auto">
          <a:xfrm>
            <a:off x="1403845" y="1844824"/>
            <a:ext cx="1774007" cy="207070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323527" y="3996847"/>
            <a:ext cx="2854325" cy="112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Изменение величины эффективного </a:t>
            </a:r>
          </a:p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диаметра оболочек </a:t>
            </a:r>
            <a:r>
              <a:rPr lang="ru-RU" altLang="ru-RU" sz="1200" b="1" dirty="0" err="1">
                <a:solidFill>
                  <a:srgbClr val="000000"/>
                </a:solidFill>
                <a:latin typeface="+mn-lt"/>
                <a:cs typeface="Times New Roman" pitchFamily="18" charset="0"/>
              </a:rPr>
              <a:t>твэлов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 составляет: </a:t>
            </a:r>
          </a:p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• АТОН (1200 С – код 5) - 1,9 %</a:t>
            </a:r>
          </a:p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• АТОН (1140 С- код 6) - 2,3 %</a:t>
            </a:r>
          </a:p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• </a:t>
            </a: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VSQ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 (1060 С – код 7) - 3,5 %</a:t>
            </a:r>
            <a:endParaRPr lang="ru-RU" altLang="ru-RU" sz="12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8" name="Прямоугольник 1"/>
          <p:cNvSpPr>
            <a:spLocks noChangeArrowheads="1"/>
          </p:cNvSpPr>
          <p:nvPr/>
        </p:nvSpPr>
        <p:spPr bwMode="auto">
          <a:xfrm>
            <a:off x="4370771" y="1056995"/>
            <a:ext cx="49530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000000"/>
                </a:solidFill>
                <a:cs typeface="Times New Roman" pitchFamily="18" charset="0"/>
              </a:rPr>
              <a:t>Внешний вид торцевой части </a:t>
            </a:r>
          </a:p>
          <a:p>
            <a:pPr algn="ctr"/>
            <a:r>
              <a:rPr lang="ru-RU" altLang="ru-RU" sz="1200" b="1" dirty="0">
                <a:solidFill>
                  <a:srgbClr val="000000"/>
                </a:solidFill>
                <a:cs typeface="Times New Roman" pitchFamily="18" charset="0"/>
              </a:rPr>
              <a:t>пучка </a:t>
            </a:r>
            <a:r>
              <a:rPr lang="ru-RU" altLang="ru-RU" sz="1200" b="1" dirty="0" err="1">
                <a:solidFill>
                  <a:srgbClr val="000000"/>
                </a:solidFill>
                <a:cs typeface="Times New Roman" pitchFamily="18" charset="0"/>
              </a:rPr>
              <a:t>твэлов</a:t>
            </a:r>
            <a:r>
              <a:rPr lang="ru-RU" altLang="ru-RU" sz="1200" b="1" dirty="0">
                <a:solidFill>
                  <a:srgbClr val="000000"/>
                </a:solidFill>
                <a:cs typeface="Times New Roman" pitchFamily="18" charset="0"/>
              </a:rPr>
              <a:t> реперной ТВС с оболочками </a:t>
            </a:r>
          </a:p>
          <a:p>
            <a:pPr algn="ctr"/>
            <a:r>
              <a:rPr lang="ru-RU" altLang="ru-RU" sz="1200" b="1" dirty="0" err="1">
                <a:solidFill>
                  <a:srgbClr val="000000"/>
                </a:solidFill>
                <a:cs typeface="Times New Roman" pitchFamily="18" charset="0"/>
              </a:rPr>
              <a:t>твэлов</a:t>
            </a:r>
            <a:r>
              <a:rPr lang="ru-RU" altLang="ru-RU" sz="1200" b="1" dirty="0">
                <a:solidFill>
                  <a:srgbClr val="000000"/>
                </a:solidFill>
                <a:cs typeface="Times New Roman" pitchFamily="18" charset="0"/>
              </a:rPr>
              <a:t> из стали ЧС68, изготовленных по оптимизированной технологии (доза 83 сна) </a:t>
            </a:r>
          </a:p>
        </p:txBody>
      </p:sp>
      <p:pic>
        <p:nvPicPr>
          <p:cNvPr id="9" name="Рисунок 3" descr="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261"/>
          <a:stretch>
            <a:fillRect/>
          </a:stretch>
        </p:blipFill>
        <p:spPr bwMode="auto">
          <a:xfrm>
            <a:off x="5652120" y="1877387"/>
            <a:ext cx="1827046" cy="208538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2"/>
          <p:cNvSpPr txBox="1">
            <a:spLocks noChangeArrowheads="1"/>
          </p:cNvSpPr>
          <p:nvPr/>
        </p:nvSpPr>
        <p:spPr bwMode="auto">
          <a:xfrm>
            <a:off x="2911758" y="4019007"/>
            <a:ext cx="6263804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44926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44926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Переход с повреждающей дозы 75 сна на  87 сна  осуществлен за счет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  проведения 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работ по совершенствованию стали ЧС68-ИД, т.е. без каких-либо конструктивных изменений </a:t>
            </a:r>
            <a:r>
              <a:rPr kumimoji="0" lang="ru-RU" alt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твэла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 и ТВС или их режимов эксплуатации. </a:t>
            </a:r>
            <a:endParaRPr kumimoji="0" lang="ru-RU" alt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Times New Roman" pitchFamily="18" charset="0"/>
            </a:endParaRPr>
          </a:p>
          <a:p>
            <a:pPr marL="0" marR="0" lvl="0" indent="44926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0" marR="0" lvl="0" indent="44926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Итог</a:t>
            </a:r>
            <a:r>
              <a:rPr kumimoji="0" lang="ru-RU" alt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: обоснованный прогноз применения стали ЧС68 до </a:t>
            </a:r>
            <a:endParaRPr kumimoji="0" lang="ru-RU" altLang="ru-RU" sz="1600" b="1" i="1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0" marR="0" lvl="0" indent="44926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95 </a:t>
            </a:r>
            <a:r>
              <a:rPr kumimoji="0" lang="ru-RU" alt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сна </a:t>
            </a:r>
            <a:r>
              <a:rPr kumimoji="0" lang="ru-RU" altLang="ru-RU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</a:t>
            </a:r>
            <a:r>
              <a:rPr kumimoji="0" lang="ru-RU" alt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БН-600, БН-800, МБИР) </a:t>
            </a: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7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343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467544" y="188640"/>
            <a:ext cx="5400600" cy="69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Сталь ЭК164 </a:t>
            </a:r>
          </a:p>
        </p:txBody>
      </p:sp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539552" y="1340768"/>
            <a:ext cx="812705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    Для </a:t>
            </a: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достижения повреждающих доз не менее 110 сна разработана сталь </a:t>
            </a:r>
            <a:endParaRPr lang="ru-RU" sz="1600" b="1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ЭК164</a:t>
            </a: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. За период </a:t>
            </a: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разработки было </a:t>
            </a: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проведено усовершенствование </a:t>
            </a:r>
            <a:endParaRPr lang="ru-RU" sz="1600" b="1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технологии </a:t>
            </a: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металлургического и трубного </a:t>
            </a: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переделов </a:t>
            </a:r>
            <a:r>
              <a:rPr lang="ru-RU" sz="1600" b="1" dirty="0">
                <a:solidFill>
                  <a:srgbClr val="000000"/>
                </a:solidFill>
                <a:cs typeface="Times New Roman" pitchFamily="18" charset="0"/>
              </a:rPr>
              <a:t>и оптимизация её </a:t>
            </a:r>
            <a:endParaRPr lang="ru-RU" sz="1600" b="1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rgbClr val="000000"/>
                </a:solidFill>
                <a:cs typeface="Times New Roman" pitchFamily="18" charset="0"/>
              </a:rPr>
              <a:t>химического состава. </a:t>
            </a:r>
            <a:endParaRPr lang="ru-RU" sz="1600" b="1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6" name="Прямоугольник 3"/>
          <p:cNvSpPr>
            <a:spLocks noChangeArrowheads="1"/>
          </p:cNvSpPr>
          <p:nvPr/>
        </p:nvSpPr>
        <p:spPr bwMode="auto">
          <a:xfrm>
            <a:off x="408360" y="2780928"/>
            <a:ext cx="8568952" cy="297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Times New Roman" pitchFamily="18" charset="0"/>
              </a:rPr>
              <a:t>Структурные факторы при разработке стали ЭК164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:</a:t>
            </a:r>
            <a:endParaRPr kumimoji="0" lang="ru-RU" sz="1700" b="1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Times New Roman" pitchFamily="18" charset="0"/>
              </a:rPr>
              <a:t>Твердорастворный</a:t>
            </a:r>
            <a:endParaRPr kumimoji="0" lang="ru-RU" sz="1700" b="1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Times New Roman" pitchFamily="18" charset="0"/>
            </a:endParaRP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</a:t>
            </a: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- 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увеличено содержание 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Ni,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введены В, Р и Се;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 - высокотемпературный отжиг на стадии металлургического и трубного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  </a:t>
            </a:r>
            <a:r>
              <a:rPr lang="ru-RU" sz="1700" b="1" kern="0" dirty="0">
                <a:solidFill>
                  <a:sysClr val="windowText" lastClr="000000"/>
                </a:solidFill>
                <a:cs typeface="Times New Roman" pitchFamily="18" charset="0"/>
              </a:rPr>
              <a:t> </a:t>
            </a: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переделов 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при температуре 1180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÷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1200 ˚С для увеличения содержания в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  твердом растворе бора и основных легирующих элементов.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Times New Roman" pitchFamily="18" charset="0"/>
              </a:rPr>
              <a:t>Карбонитридный</a:t>
            </a:r>
            <a:endParaRPr kumimoji="0" lang="ru-RU" sz="1700" b="1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Times New Roman" pitchFamily="18" charset="0"/>
            </a:endParaRP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- 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Ti, </a:t>
            </a:r>
            <a:r>
              <a:rPr kumimoji="0" lang="en-US" sz="17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Nb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, 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V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, образование МС в процессе облучения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  - образование фосфидов (введение Р</a:t>
            </a: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).</a:t>
            </a:r>
            <a:endParaRPr kumimoji="0" lang="ru-RU" sz="1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itchFamily="18" charset="0"/>
            </a:endParaRP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Times New Roman" pitchFamily="18" charset="0"/>
              </a:rPr>
              <a:t>Холодной деформации</a:t>
            </a:r>
          </a:p>
          <a:p>
            <a:pPr marL="0" marR="0" lvl="0" indent="0" defTabSz="914400" eaLnBrk="0" fontAlgn="auto" latinLnBrk="0" hangingPunct="0"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создание холоднодеформированной структуры методом </a:t>
            </a: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КОВ 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на (20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±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itchFamily="18" charset="0"/>
              </a:rPr>
              <a:t>3)%.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itchFamily="18" charset="0"/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60373" y="6448430"/>
            <a:ext cx="627185" cy="377825"/>
          </a:xfrm>
        </p:spPr>
        <p:txBody>
          <a:bodyPr/>
          <a:lstStyle/>
          <a:p>
            <a:pPr>
              <a:defRPr/>
            </a:pPr>
            <a:fld id="{D5A0490A-844A-4E8F-A6EE-CF6D7138F22E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2369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23528" y="188640"/>
            <a:ext cx="7632848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Ферритно-мартенситные стали:</a:t>
            </a:r>
          </a:p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системы легирования и длительная прочность о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/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cs typeface="Times New Roman" pitchFamily="18" charset="0"/>
              </a:rPr>
              <a:t>т труб</a:t>
            </a:r>
          </a:p>
        </p:txBody>
      </p:sp>
      <p:pic>
        <p:nvPicPr>
          <p:cNvPr id="5" name="Рисунок 4" descr="Untitled-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880320" cy="287347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-180528" y="429309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i="1" dirty="0">
                <a:solidFill>
                  <a:srgbClr val="003274"/>
                </a:solidFill>
                <a:latin typeface="Times New Roman"/>
                <a:ea typeface="Times New Roman"/>
              </a:rPr>
              <a:t>Карбидные фазы в структуре стали ЭК181 после закалки и отпуска</a:t>
            </a:r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7" name="Прямоугольник 1"/>
          <p:cNvSpPr>
            <a:spLocks noChangeArrowheads="1"/>
          </p:cNvSpPr>
          <p:nvPr/>
        </p:nvSpPr>
        <p:spPr bwMode="auto">
          <a:xfrm>
            <a:off x="3995936" y="1440212"/>
            <a:ext cx="4953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>
              <a:buClr>
                <a:srgbClr val="FF0000"/>
              </a:buClr>
              <a:buFont typeface="Wingdings" pitchFamily="2" charset="2"/>
              <a:buChar char="§"/>
            </a:pPr>
            <a:r>
              <a:rPr lang="ru-RU" altLang="ru-RU" sz="1600" b="1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ЭП 450:</a:t>
            </a:r>
            <a:r>
              <a:rPr lang="ru-RU" alt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Fe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1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Cr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ru-RU" sz="1600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Mo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b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V-B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0,1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C</a:t>
            </a:r>
            <a:r>
              <a:rPr lang="ru-RU" alt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1600" b="1" i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Clr>
                <a:srgbClr val="FF0000"/>
              </a:buClr>
              <a:buFont typeface="Wingdings" pitchFamily="2" charset="2"/>
              <a:buChar char="§"/>
            </a:pPr>
            <a:r>
              <a:rPr lang="ru-RU" altLang="ru-RU" sz="1600" b="1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ЭК181:</a:t>
            </a:r>
            <a:r>
              <a:rPr lang="ru-RU" alt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Fe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2Cr</a:t>
            </a:r>
            <a:r>
              <a:rPr lang="en-US" altLang="ru-RU" sz="16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2</a:t>
            </a:r>
            <a:r>
              <a:rPr lang="en-US" altLang="ru-RU" sz="1600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W</a:t>
            </a:r>
            <a:r>
              <a:rPr lang="en-US" altLang="ru-RU" sz="16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V-Ta</a:t>
            </a:r>
            <a:r>
              <a:rPr lang="en-US" altLang="ru-RU" sz="1600" b="1" dirty="0"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latin typeface="Times New Roman" pitchFamily="18" charset="0"/>
                <a:cs typeface="Times New Roman" pitchFamily="18" charset="0"/>
              </a:rPr>
              <a:t>B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0,1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C</a:t>
            </a:r>
            <a:endParaRPr lang="ru-RU" altLang="ru-RU" sz="16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Clr>
                <a:srgbClr val="FF0000"/>
              </a:buClr>
              <a:buFont typeface="Wingdings" pitchFamily="2" charset="2"/>
              <a:buChar char="§"/>
            </a:pPr>
            <a:r>
              <a:rPr lang="ru-RU" altLang="ru-RU" sz="1600" b="1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ЧС139:</a:t>
            </a:r>
            <a:r>
              <a:rPr lang="ru-RU" alt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Fe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12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r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Mo</a:t>
            </a:r>
            <a:r>
              <a:rPr lang="ru-RU" altLang="ru-RU" sz="1600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W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 err="1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Nb</a:t>
            </a:r>
            <a:r>
              <a:rPr lang="ru-RU" altLang="ru-RU" sz="1600" b="1" dirty="0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V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</a:t>
            </a:r>
            <a:r>
              <a:rPr lang="ru-RU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-0,20</a:t>
            </a:r>
            <a:r>
              <a:rPr lang="en-US" alt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endParaRPr lang="ru-RU" altLang="ru-RU" sz="16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4211960" y="2564904"/>
            <a:ext cx="4204271" cy="2523761"/>
            <a:chOff x="106" y="409"/>
            <a:chExt cx="2787" cy="1937"/>
          </a:xfrm>
        </p:grpSpPr>
        <p:pic>
          <p:nvPicPr>
            <p:cNvPr id="9" name="Picture 19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" y="409"/>
              <a:ext cx="2787" cy="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Oval 17"/>
            <p:cNvSpPr>
              <a:spLocks noChangeArrowheads="1"/>
            </p:cNvSpPr>
            <p:nvPr/>
          </p:nvSpPr>
          <p:spPr bwMode="auto">
            <a:xfrm>
              <a:off x="1909" y="1264"/>
              <a:ext cx="150" cy="15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ru-RU" altLang="ru-RU">
                <a:latin typeface="Calibri" pitchFamily="34" charset="0"/>
              </a:endParaRPr>
            </a:p>
          </p:txBody>
        </p:sp>
      </p:grpSp>
      <p:sp>
        <p:nvSpPr>
          <p:cNvPr id="11" name="Номер слайда 10"/>
          <p:cNvSpPr>
            <a:spLocks noGrp="1"/>
          </p:cNvSpPr>
          <p:nvPr>
            <p:ph type="sldNum" sz="quarter" idx="4294967295"/>
          </p:nvPr>
        </p:nvSpPr>
        <p:spPr>
          <a:xfrm>
            <a:off x="7452320" y="6453336"/>
            <a:ext cx="2133600" cy="365125"/>
          </a:xfrm>
          <a:prstGeom prst="rect">
            <a:avLst/>
          </a:prstGeom>
        </p:spPr>
        <p:txBody>
          <a:bodyPr/>
          <a:lstStyle/>
          <a:p>
            <a:fld id="{451FA147-D647-4CF7-954C-DFA9221C806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588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ZrxeDs2kiW5JNAkft.pQ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1</TotalTime>
  <Words>1699</Words>
  <Application>Microsoft Office PowerPoint</Application>
  <PresentationFormat>Экран (4:3)</PresentationFormat>
  <Paragraphs>182</Paragraphs>
  <Slides>23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2" baseType="lpstr">
      <vt:lpstr>b-default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think-cell Slide</vt:lpstr>
      <vt:lpstr> Леонтьева-Смирнова М.В., Скупов М.В., Никитина А.А.,  Науменко И.А., Митрофанова Н.М.    </vt:lpstr>
      <vt:lpstr> Цель работ</vt:lpstr>
      <vt:lpstr> Состав работ по разработке и обоснованию КМ</vt:lpstr>
      <vt:lpstr>Основные технологические направления при разработке КМ: </vt:lpstr>
      <vt:lpstr>Разработки в области КМ для оболочек твэлов для перспективных реакторов  БР</vt:lpstr>
      <vt:lpstr>Сталь ЧС68</vt:lpstr>
      <vt:lpstr>Результаты послереакторных исследований  реперных ТВС с оболочками твэлов из ЧС68 реактора БН-600</vt:lpstr>
      <vt:lpstr>Сталь ЭК164 </vt:lpstr>
      <vt:lpstr>Ферритно-мартенситные стали: системы легирования и длительная прочность о/т труб</vt:lpstr>
      <vt:lpstr>Промышленное освоение ферритно-мартенситных сталей ЭК181 и ЧС139</vt:lpstr>
      <vt:lpstr>Презентация PowerPoint</vt:lpstr>
      <vt:lpstr>         Коррозия, в том числе фреттинг-коррозия, образцов стали ЭП823 нового технологического исполнения и перспективных материалов </vt:lpstr>
      <vt:lpstr>Матрица параметров металлопродукции из стали ЭП823</vt:lpstr>
      <vt:lpstr>Матрица параметров металлопродукции из стали ЭП823</vt:lpstr>
      <vt:lpstr>Радиационная стойкость</vt:lpstr>
      <vt:lpstr>Сталь ЭП900</vt:lpstr>
      <vt:lpstr>Биметаллические трубы</vt:lpstr>
      <vt:lpstr> ДУО стали</vt:lpstr>
      <vt:lpstr>Презентация PowerPoint</vt:lpstr>
      <vt:lpstr>ДУО стали, разрабатываемые применительно к использованию в качестве оболочек твэлов реактора со свинцовым теплоносителем (выгорание СНУП топлива 9-12% т.а.) </vt:lpstr>
      <vt:lpstr>Презентация PowerPoint</vt:lpstr>
      <vt:lpstr>Заключение</vt:lpstr>
      <vt:lpstr>Заключение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ikitina</dc:creator>
  <cp:lastModifiedBy>Nikitina</cp:lastModifiedBy>
  <cp:revision>136</cp:revision>
  <cp:lastPrinted>2019-04-04T09:49:45Z</cp:lastPrinted>
  <dcterms:created xsi:type="dcterms:W3CDTF">2019-02-27T17:48:35Z</dcterms:created>
  <dcterms:modified xsi:type="dcterms:W3CDTF">2019-05-27T16:26:36Z</dcterms:modified>
</cp:coreProperties>
</file>